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2"/>
  </p:notesMasterIdLst>
  <p:sldIdLst>
    <p:sldId id="269" r:id="rId2"/>
    <p:sldId id="2064" r:id="rId3"/>
    <p:sldId id="277" r:id="rId4"/>
    <p:sldId id="284" r:id="rId5"/>
    <p:sldId id="288" r:id="rId6"/>
    <p:sldId id="285" r:id="rId7"/>
    <p:sldId id="286" r:id="rId8"/>
    <p:sldId id="287" r:id="rId9"/>
    <p:sldId id="291" r:id="rId10"/>
    <p:sldId id="281" r:id="rId11"/>
    <p:sldId id="282" r:id="rId12"/>
    <p:sldId id="283" r:id="rId13"/>
    <p:sldId id="2065" r:id="rId14"/>
    <p:sldId id="257" r:id="rId15"/>
    <p:sldId id="276" r:id="rId16"/>
    <p:sldId id="2059" r:id="rId17"/>
    <p:sldId id="258" r:id="rId18"/>
    <p:sldId id="2060" r:id="rId19"/>
    <p:sldId id="2063" r:id="rId20"/>
    <p:sldId id="272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" id="{7BB64810-5184-45D3-B69D-8BF7BB5F518A}">
          <p14:sldIdLst>
            <p14:sldId id="269"/>
            <p14:sldId id="2064"/>
            <p14:sldId id="277"/>
            <p14:sldId id="284"/>
            <p14:sldId id="288"/>
            <p14:sldId id="285"/>
            <p14:sldId id="286"/>
            <p14:sldId id="287"/>
            <p14:sldId id="291"/>
            <p14:sldId id="281"/>
            <p14:sldId id="282"/>
            <p14:sldId id="283"/>
            <p14:sldId id="2065"/>
            <p14:sldId id="257"/>
            <p14:sldId id="276"/>
            <p14:sldId id="2059"/>
            <p14:sldId id="258"/>
            <p14:sldId id="2060"/>
            <p14:sldId id="2063"/>
            <p14:sldId id="27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29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86" autoAdjust="0"/>
    <p:restoredTop sz="94660"/>
  </p:normalViewPr>
  <p:slideViewPr>
    <p:cSldViewPr snapToGrid="0">
      <p:cViewPr varScale="1">
        <p:scale>
          <a:sx n="72" d="100"/>
          <a:sy n="72" d="100"/>
        </p:scale>
        <p:origin x="67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ubham Gupta" userId="7413dd0d-2d6e-486d-8ad3-c9c713528486" providerId="ADAL" clId="{ABF5D55C-529D-4792-9B01-710203B37FBD}"/>
    <pc:docChg chg="undo addSld delSld modSld modSection">
      <pc:chgData name="Shubham Gupta" userId="7413dd0d-2d6e-486d-8ad3-c9c713528486" providerId="ADAL" clId="{ABF5D55C-529D-4792-9B01-710203B37FBD}" dt="2018-11-30T05:58:38.677" v="234" actId="20577"/>
      <pc:docMkLst>
        <pc:docMk/>
      </pc:docMkLst>
      <pc:sldChg chg="del">
        <pc:chgData name="Shubham Gupta" userId="7413dd0d-2d6e-486d-8ad3-c9c713528486" providerId="ADAL" clId="{ABF5D55C-529D-4792-9B01-710203B37FBD}" dt="2018-11-30T05:47:54.344" v="1" actId="2696"/>
        <pc:sldMkLst>
          <pc:docMk/>
          <pc:sldMk cId="2287832278" sldId="270"/>
        </pc:sldMkLst>
      </pc:sldChg>
      <pc:sldChg chg="add">
        <pc:chgData name="Shubham Gupta" userId="7413dd0d-2d6e-486d-8ad3-c9c713528486" providerId="ADAL" clId="{ABF5D55C-529D-4792-9B01-710203B37FBD}" dt="2018-11-30T05:47:51.429" v="0"/>
        <pc:sldMkLst>
          <pc:docMk/>
          <pc:sldMk cId="542832693" sldId="277"/>
        </pc:sldMkLst>
      </pc:sldChg>
      <pc:sldChg chg="add">
        <pc:chgData name="Shubham Gupta" userId="7413dd0d-2d6e-486d-8ad3-c9c713528486" providerId="ADAL" clId="{ABF5D55C-529D-4792-9B01-710203B37FBD}" dt="2018-11-30T05:48:25.858" v="2"/>
        <pc:sldMkLst>
          <pc:docMk/>
          <pc:sldMk cId="2740658125" sldId="281"/>
        </pc:sldMkLst>
      </pc:sldChg>
      <pc:sldChg chg="add">
        <pc:chgData name="Shubham Gupta" userId="7413dd0d-2d6e-486d-8ad3-c9c713528486" providerId="ADAL" clId="{ABF5D55C-529D-4792-9B01-710203B37FBD}" dt="2018-11-30T05:48:25.858" v="2"/>
        <pc:sldMkLst>
          <pc:docMk/>
          <pc:sldMk cId="3763138453" sldId="282"/>
        </pc:sldMkLst>
      </pc:sldChg>
      <pc:sldChg chg="add">
        <pc:chgData name="Shubham Gupta" userId="7413dd0d-2d6e-486d-8ad3-c9c713528486" providerId="ADAL" clId="{ABF5D55C-529D-4792-9B01-710203B37FBD}" dt="2018-11-30T05:48:25.858" v="2"/>
        <pc:sldMkLst>
          <pc:docMk/>
          <pc:sldMk cId="1627508962" sldId="283"/>
        </pc:sldMkLst>
      </pc:sldChg>
      <pc:sldChg chg="add">
        <pc:chgData name="Shubham Gupta" userId="7413dd0d-2d6e-486d-8ad3-c9c713528486" providerId="ADAL" clId="{ABF5D55C-529D-4792-9B01-710203B37FBD}" dt="2018-11-30T05:47:51.429" v="0"/>
        <pc:sldMkLst>
          <pc:docMk/>
          <pc:sldMk cId="1537249068" sldId="284"/>
        </pc:sldMkLst>
      </pc:sldChg>
      <pc:sldChg chg="add">
        <pc:chgData name="Shubham Gupta" userId="7413dd0d-2d6e-486d-8ad3-c9c713528486" providerId="ADAL" clId="{ABF5D55C-529D-4792-9B01-710203B37FBD}" dt="2018-11-30T05:48:25.858" v="2"/>
        <pc:sldMkLst>
          <pc:docMk/>
          <pc:sldMk cId="2352507354" sldId="285"/>
        </pc:sldMkLst>
      </pc:sldChg>
      <pc:sldChg chg="add">
        <pc:chgData name="Shubham Gupta" userId="7413dd0d-2d6e-486d-8ad3-c9c713528486" providerId="ADAL" clId="{ABF5D55C-529D-4792-9B01-710203B37FBD}" dt="2018-11-30T05:48:25.858" v="2"/>
        <pc:sldMkLst>
          <pc:docMk/>
          <pc:sldMk cId="427504023" sldId="286"/>
        </pc:sldMkLst>
      </pc:sldChg>
      <pc:sldChg chg="add">
        <pc:chgData name="Shubham Gupta" userId="7413dd0d-2d6e-486d-8ad3-c9c713528486" providerId="ADAL" clId="{ABF5D55C-529D-4792-9B01-710203B37FBD}" dt="2018-11-30T05:48:25.858" v="2"/>
        <pc:sldMkLst>
          <pc:docMk/>
          <pc:sldMk cId="2874345571" sldId="287"/>
        </pc:sldMkLst>
      </pc:sldChg>
      <pc:sldChg chg="add">
        <pc:chgData name="Shubham Gupta" userId="7413dd0d-2d6e-486d-8ad3-c9c713528486" providerId="ADAL" clId="{ABF5D55C-529D-4792-9B01-710203B37FBD}" dt="2018-11-30T05:47:51.429" v="0"/>
        <pc:sldMkLst>
          <pc:docMk/>
          <pc:sldMk cId="4128678048" sldId="288"/>
        </pc:sldMkLst>
      </pc:sldChg>
      <pc:sldChg chg="add">
        <pc:chgData name="Shubham Gupta" userId="7413dd0d-2d6e-486d-8ad3-c9c713528486" providerId="ADAL" clId="{ABF5D55C-529D-4792-9B01-710203B37FBD}" dt="2018-11-30T05:48:25.858" v="2"/>
        <pc:sldMkLst>
          <pc:docMk/>
          <pc:sldMk cId="854735776" sldId="291"/>
        </pc:sldMkLst>
      </pc:sldChg>
      <pc:sldChg chg="modSp">
        <pc:chgData name="Shubham Gupta" userId="7413dd0d-2d6e-486d-8ad3-c9c713528486" providerId="ADAL" clId="{ABF5D55C-529D-4792-9B01-710203B37FBD}" dt="2018-11-30T05:57:32.640" v="228" actId="20577"/>
        <pc:sldMkLst>
          <pc:docMk/>
          <pc:sldMk cId="627099101" sldId="2060"/>
        </pc:sldMkLst>
        <pc:spChg chg="mod">
          <ac:chgData name="Shubham Gupta" userId="7413dd0d-2d6e-486d-8ad3-c9c713528486" providerId="ADAL" clId="{ABF5D55C-529D-4792-9B01-710203B37FBD}" dt="2018-11-30T05:50:00.513" v="13" actId="20577"/>
          <ac:spMkLst>
            <pc:docMk/>
            <pc:sldMk cId="627099101" sldId="2060"/>
            <ac:spMk id="8" creationId="{02F2F836-DC7D-4454-8D7E-A7C20FB6AB1B}"/>
          </ac:spMkLst>
        </pc:spChg>
        <pc:spChg chg="mod">
          <ac:chgData name="Shubham Gupta" userId="7413dd0d-2d6e-486d-8ad3-c9c713528486" providerId="ADAL" clId="{ABF5D55C-529D-4792-9B01-710203B37FBD}" dt="2018-11-30T05:57:30.431" v="227" actId="20577"/>
          <ac:spMkLst>
            <pc:docMk/>
            <pc:sldMk cId="627099101" sldId="2060"/>
            <ac:spMk id="13" creationId="{F7D1676F-6080-4323-B2C1-02A0ACB106FA}"/>
          </ac:spMkLst>
        </pc:spChg>
        <pc:spChg chg="mod">
          <ac:chgData name="Shubham Gupta" userId="7413dd0d-2d6e-486d-8ad3-c9c713528486" providerId="ADAL" clId="{ABF5D55C-529D-4792-9B01-710203B37FBD}" dt="2018-11-30T05:57:32.640" v="228" actId="20577"/>
          <ac:spMkLst>
            <pc:docMk/>
            <pc:sldMk cId="627099101" sldId="2060"/>
            <ac:spMk id="225" creationId="{4195B693-923A-4CE0-B89D-6546D5D8490D}"/>
          </ac:spMkLst>
        </pc:spChg>
        <pc:spChg chg="mod">
          <ac:chgData name="Shubham Gupta" userId="7413dd0d-2d6e-486d-8ad3-c9c713528486" providerId="ADAL" clId="{ABF5D55C-529D-4792-9B01-710203B37FBD}" dt="2018-11-30T05:50:31.528" v="61" actId="20577"/>
          <ac:spMkLst>
            <pc:docMk/>
            <pc:sldMk cId="627099101" sldId="2060"/>
            <ac:spMk id="230" creationId="{E00A991A-CD7C-40E1-9925-8E46CE326E18}"/>
          </ac:spMkLst>
        </pc:spChg>
        <pc:spChg chg="mod">
          <ac:chgData name="Shubham Gupta" userId="7413dd0d-2d6e-486d-8ad3-c9c713528486" providerId="ADAL" clId="{ABF5D55C-529D-4792-9B01-710203B37FBD}" dt="2018-11-30T05:57:09.762" v="225" actId="14100"/>
          <ac:spMkLst>
            <pc:docMk/>
            <pc:sldMk cId="627099101" sldId="2060"/>
            <ac:spMk id="232" creationId="{29B38B18-139F-48E1-B6FF-5ADCDFD87A07}"/>
          </ac:spMkLst>
        </pc:spChg>
        <pc:spChg chg="mod">
          <ac:chgData name="Shubham Gupta" userId="7413dd0d-2d6e-486d-8ad3-c9c713528486" providerId="ADAL" clId="{ABF5D55C-529D-4792-9B01-710203B37FBD}" dt="2018-11-30T05:50:26.094" v="54" actId="20577"/>
          <ac:spMkLst>
            <pc:docMk/>
            <pc:sldMk cId="627099101" sldId="2060"/>
            <ac:spMk id="234" creationId="{AF58D6DD-8E0C-4BE6-987D-73A6668BBEB2}"/>
          </ac:spMkLst>
        </pc:spChg>
        <pc:spChg chg="mod">
          <ac:chgData name="Shubham Gupta" userId="7413dd0d-2d6e-486d-8ad3-c9c713528486" providerId="ADAL" clId="{ABF5D55C-529D-4792-9B01-710203B37FBD}" dt="2018-11-30T05:50:35.255" v="65" actId="20577"/>
          <ac:spMkLst>
            <pc:docMk/>
            <pc:sldMk cId="627099101" sldId="2060"/>
            <ac:spMk id="238" creationId="{898730E4-89D6-4B33-A01D-34EDDE9C2943}"/>
          </ac:spMkLst>
        </pc:spChg>
        <pc:spChg chg="mod">
          <ac:chgData name="Shubham Gupta" userId="7413dd0d-2d6e-486d-8ad3-c9c713528486" providerId="ADAL" clId="{ABF5D55C-529D-4792-9B01-710203B37FBD}" dt="2018-11-30T05:57:06.904" v="224" actId="14100"/>
          <ac:spMkLst>
            <pc:docMk/>
            <pc:sldMk cId="627099101" sldId="2060"/>
            <ac:spMk id="241" creationId="{BB2EDDB1-8B29-4654-AA4D-C2548EC9B966}"/>
          </ac:spMkLst>
        </pc:spChg>
        <pc:spChg chg="mod">
          <ac:chgData name="Shubham Gupta" userId="7413dd0d-2d6e-486d-8ad3-c9c713528486" providerId="ADAL" clId="{ABF5D55C-529D-4792-9B01-710203B37FBD}" dt="2018-11-30T05:57:12.353" v="226" actId="14100"/>
          <ac:spMkLst>
            <pc:docMk/>
            <pc:sldMk cId="627099101" sldId="2060"/>
            <ac:spMk id="243" creationId="{39084506-546F-4C35-85A6-C155489BA81A}"/>
          </ac:spMkLst>
        </pc:spChg>
        <pc:spChg chg="mod">
          <ac:chgData name="Shubham Gupta" userId="7413dd0d-2d6e-486d-8ad3-c9c713528486" providerId="ADAL" clId="{ABF5D55C-529D-4792-9B01-710203B37FBD}" dt="2018-11-30T05:50:22.466" v="47" actId="20577"/>
          <ac:spMkLst>
            <pc:docMk/>
            <pc:sldMk cId="627099101" sldId="2060"/>
            <ac:spMk id="246" creationId="{55CFBBF5-63F9-4C9A-B327-37BC4AC3876C}"/>
          </ac:spMkLst>
        </pc:spChg>
        <pc:spChg chg="mod">
          <ac:chgData name="Shubham Gupta" userId="7413dd0d-2d6e-486d-8ad3-c9c713528486" providerId="ADAL" clId="{ABF5D55C-529D-4792-9B01-710203B37FBD}" dt="2018-11-30T05:57:00.473" v="222" actId="14100"/>
          <ac:spMkLst>
            <pc:docMk/>
            <pc:sldMk cId="627099101" sldId="2060"/>
            <ac:spMk id="247" creationId="{96580AE3-2DD1-472C-BFA2-33B0616C1F8D}"/>
          </ac:spMkLst>
        </pc:spChg>
        <pc:spChg chg="mod">
          <ac:chgData name="Shubham Gupta" userId="7413dd0d-2d6e-486d-8ad3-c9c713528486" providerId="ADAL" clId="{ABF5D55C-529D-4792-9B01-710203B37FBD}" dt="2018-11-30T05:57:02.776" v="223" actId="14100"/>
          <ac:spMkLst>
            <pc:docMk/>
            <pc:sldMk cId="627099101" sldId="2060"/>
            <ac:spMk id="248" creationId="{81BBD735-5FFF-447E-8A19-684F2F3E49FE}"/>
          </ac:spMkLst>
        </pc:spChg>
        <pc:spChg chg="mod">
          <ac:chgData name="Shubham Gupta" userId="7413dd0d-2d6e-486d-8ad3-c9c713528486" providerId="ADAL" clId="{ABF5D55C-529D-4792-9B01-710203B37FBD}" dt="2018-11-30T05:50:17.532" v="40" actId="20577"/>
          <ac:spMkLst>
            <pc:docMk/>
            <pc:sldMk cId="627099101" sldId="2060"/>
            <ac:spMk id="249" creationId="{0477E657-7D8E-4581-80DF-50FD29F242A9}"/>
          </ac:spMkLst>
        </pc:spChg>
        <pc:spChg chg="mod">
          <ac:chgData name="Shubham Gupta" userId="7413dd0d-2d6e-486d-8ad3-c9c713528486" providerId="ADAL" clId="{ABF5D55C-529D-4792-9B01-710203B37FBD}" dt="2018-11-30T05:56:55.023" v="221" actId="552"/>
          <ac:spMkLst>
            <pc:docMk/>
            <pc:sldMk cId="627099101" sldId="2060"/>
            <ac:spMk id="251" creationId="{29FDBD1F-3CF5-4D75-968A-422D2BEC0E9F}"/>
          </ac:spMkLst>
        </pc:spChg>
        <pc:cxnChg chg="mod">
          <ac:chgData name="Shubham Gupta" userId="7413dd0d-2d6e-486d-8ad3-c9c713528486" providerId="ADAL" clId="{ABF5D55C-529D-4792-9B01-710203B37FBD}" dt="2018-11-30T05:57:00.473" v="222" actId="14100"/>
          <ac:cxnSpMkLst>
            <pc:docMk/>
            <pc:sldMk cId="627099101" sldId="2060"/>
            <ac:cxnSpMk id="273" creationId="{36BC19E4-8D17-4913-8953-C92D2CD90F69}"/>
          </ac:cxnSpMkLst>
        </pc:cxnChg>
        <pc:cxnChg chg="mod">
          <ac:chgData name="Shubham Gupta" userId="7413dd0d-2d6e-486d-8ad3-c9c713528486" providerId="ADAL" clId="{ABF5D55C-529D-4792-9B01-710203B37FBD}" dt="2018-11-30T05:56:55.023" v="221" actId="552"/>
          <ac:cxnSpMkLst>
            <pc:docMk/>
            <pc:sldMk cId="627099101" sldId="2060"/>
            <ac:cxnSpMk id="276" creationId="{50AF497F-87F4-4413-B733-FAC297C96945}"/>
          </ac:cxnSpMkLst>
        </pc:cxnChg>
        <pc:cxnChg chg="mod">
          <ac:chgData name="Shubham Gupta" userId="7413dd0d-2d6e-486d-8ad3-c9c713528486" providerId="ADAL" clId="{ABF5D55C-529D-4792-9B01-710203B37FBD}" dt="2018-11-30T05:57:02.776" v="223" actId="14100"/>
          <ac:cxnSpMkLst>
            <pc:docMk/>
            <pc:sldMk cId="627099101" sldId="2060"/>
            <ac:cxnSpMk id="279" creationId="{58D1030A-97C5-462A-8B45-E38C32E198C8}"/>
          </ac:cxnSpMkLst>
        </pc:cxnChg>
        <pc:cxnChg chg="mod">
          <ac:chgData name="Shubham Gupta" userId="7413dd0d-2d6e-486d-8ad3-c9c713528486" providerId="ADAL" clId="{ABF5D55C-529D-4792-9B01-710203B37FBD}" dt="2018-11-30T05:57:06.904" v="224" actId="14100"/>
          <ac:cxnSpMkLst>
            <pc:docMk/>
            <pc:sldMk cId="627099101" sldId="2060"/>
            <ac:cxnSpMk id="285" creationId="{42E2C34B-2DF4-4171-8A14-78FE8B2F456D}"/>
          </ac:cxnSpMkLst>
        </pc:cxnChg>
        <pc:cxnChg chg="mod">
          <ac:chgData name="Shubham Gupta" userId="7413dd0d-2d6e-486d-8ad3-c9c713528486" providerId="ADAL" clId="{ABF5D55C-529D-4792-9B01-710203B37FBD}" dt="2018-11-30T05:57:09.762" v="225" actId="14100"/>
          <ac:cxnSpMkLst>
            <pc:docMk/>
            <pc:sldMk cId="627099101" sldId="2060"/>
            <ac:cxnSpMk id="288" creationId="{A286418F-612D-4804-A5E6-CDCED6D3093D}"/>
          </ac:cxnSpMkLst>
        </pc:cxnChg>
        <pc:cxnChg chg="mod">
          <ac:chgData name="Shubham Gupta" userId="7413dd0d-2d6e-486d-8ad3-c9c713528486" providerId="ADAL" clId="{ABF5D55C-529D-4792-9B01-710203B37FBD}" dt="2018-11-30T05:57:12.353" v="226" actId="14100"/>
          <ac:cxnSpMkLst>
            <pc:docMk/>
            <pc:sldMk cId="627099101" sldId="2060"/>
            <ac:cxnSpMk id="296" creationId="{120B55AE-229D-433A-A031-A2FE284B3C1E}"/>
          </ac:cxnSpMkLst>
        </pc:cxnChg>
      </pc:sldChg>
      <pc:sldChg chg="modSp">
        <pc:chgData name="Shubham Gupta" userId="7413dd0d-2d6e-486d-8ad3-c9c713528486" providerId="ADAL" clId="{ABF5D55C-529D-4792-9B01-710203B37FBD}" dt="2018-11-30T05:58:38.677" v="234" actId="20577"/>
        <pc:sldMkLst>
          <pc:docMk/>
          <pc:sldMk cId="1006648404" sldId="2063"/>
        </pc:sldMkLst>
        <pc:spChg chg="mod">
          <ac:chgData name="Shubham Gupta" userId="7413dd0d-2d6e-486d-8ad3-c9c713528486" providerId="ADAL" clId="{ABF5D55C-529D-4792-9B01-710203B37FBD}" dt="2018-11-30T05:50:53.597" v="73" actId="20577"/>
          <ac:spMkLst>
            <pc:docMk/>
            <pc:sldMk cId="1006648404" sldId="2063"/>
            <ac:spMk id="8" creationId="{02F2F836-DC7D-4454-8D7E-A7C20FB6AB1B}"/>
          </ac:spMkLst>
        </pc:spChg>
        <pc:spChg chg="mod">
          <ac:chgData name="Shubham Gupta" userId="7413dd0d-2d6e-486d-8ad3-c9c713528486" providerId="ADAL" clId="{ABF5D55C-529D-4792-9B01-710203B37FBD}" dt="2018-11-30T05:50:59.219" v="82" actId="20577"/>
          <ac:spMkLst>
            <pc:docMk/>
            <pc:sldMk cId="1006648404" sldId="2063"/>
            <ac:spMk id="10" creationId="{D01D445D-535C-47A9-9FD2-1B7DF38C521E}"/>
          </ac:spMkLst>
        </pc:spChg>
        <pc:spChg chg="mod">
          <ac:chgData name="Shubham Gupta" userId="7413dd0d-2d6e-486d-8ad3-c9c713528486" providerId="ADAL" clId="{ABF5D55C-529D-4792-9B01-710203B37FBD}" dt="2018-11-30T05:58:30.722" v="231" actId="20577"/>
          <ac:spMkLst>
            <pc:docMk/>
            <pc:sldMk cId="1006648404" sldId="2063"/>
            <ac:spMk id="13" creationId="{F7D1676F-6080-4323-B2C1-02A0ACB106FA}"/>
          </ac:spMkLst>
        </pc:spChg>
        <pc:spChg chg="mod">
          <ac:chgData name="Shubham Gupta" userId="7413dd0d-2d6e-486d-8ad3-c9c713528486" providerId="ADAL" clId="{ABF5D55C-529D-4792-9B01-710203B37FBD}" dt="2018-11-30T05:57:53.268" v="230" actId="20577"/>
          <ac:spMkLst>
            <pc:docMk/>
            <pc:sldMk cId="1006648404" sldId="2063"/>
            <ac:spMk id="36" creationId="{F8B8F7BD-E074-4E26-89F7-8D9022A0A06D}"/>
          </ac:spMkLst>
        </pc:spChg>
        <pc:spChg chg="mod">
          <ac:chgData name="Shubham Gupta" userId="7413dd0d-2d6e-486d-8ad3-c9c713528486" providerId="ADAL" clId="{ABF5D55C-529D-4792-9B01-710203B37FBD}" dt="2018-11-30T05:52:42.544" v="157" actId="552"/>
          <ac:spMkLst>
            <pc:docMk/>
            <pc:sldMk cId="1006648404" sldId="2063"/>
            <ac:spMk id="80" creationId="{6F72F22F-C9C1-474C-B9E1-4A03DE864190}"/>
          </ac:spMkLst>
        </pc:spChg>
        <pc:spChg chg="mod">
          <ac:chgData name="Shubham Gupta" userId="7413dd0d-2d6e-486d-8ad3-c9c713528486" providerId="ADAL" clId="{ABF5D55C-529D-4792-9B01-710203B37FBD}" dt="2018-11-30T05:55:26.092" v="211" actId="14100"/>
          <ac:spMkLst>
            <pc:docMk/>
            <pc:sldMk cId="1006648404" sldId="2063"/>
            <ac:spMk id="94" creationId="{BB37A9B6-1645-4A81-9D21-7B99F3E93148}"/>
          </ac:spMkLst>
        </pc:spChg>
        <pc:spChg chg="mod">
          <ac:chgData name="Shubham Gupta" userId="7413dd0d-2d6e-486d-8ad3-c9c713528486" providerId="ADAL" clId="{ABF5D55C-529D-4792-9B01-710203B37FBD}" dt="2018-11-30T05:55:30.965" v="212" actId="14100"/>
          <ac:spMkLst>
            <pc:docMk/>
            <pc:sldMk cId="1006648404" sldId="2063"/>
            <ac:spMk id="102" creationId="{3813ED50-1AEF-4ACC-982C-72235CB5D74C}"/>
          </ac:spMkLst>
        </pc:spChg>
        <pc:spChg chg="mod">
          <ac:chgData name="Shubham Gupta" userId="7413dd0d-2d6e-486d-8ad3-c9c713528486" providerId="ADAL" clId="{ABF5D55C-529D-4792-9B01-710203B37FBD}" dt="2018-11-30T05:55:34.827" v="213" actId="14100"/>
          <ac:spMkLst>
            <pc:docMk/>
            <pc:sldMk cId="1006648404" sldId="2063"/>
            <ac:spMk id="103" creationId="{39E5B314-16F7-45C4-8F4C-0975770F4C9C}"/>
          </ac:spMkLst>
        </pc:spChg>
        <pc:spChg chg="mod">
          <ac:chgData name="Shubham Gupta" userId="7413dd0d-2d6e-486d-8ad3-c9c713528486" providerId="ADAL" clId="{ABF5D55C-529D-4792-9B01-710203B37FBD}" dt="2018-11-30T05:54:30.320" v="204" actId="14100"/>
          <ac:spMkLst>
            <pc:docMk/>
            <pc:sldMk cId="1006648404" sldId="2063"/>
            <ac:spMk id="106" creationId="{3E3CCA2F-4064-4B00-BB11-AD7B65E8308E}"/>
          </ac:spMkLst>
        </pc:spChg>
        <pc:spChg chg="mod">
          <ac:chgData name="Shubham Gupta" userId="7413dd0d-2d6e-486d-8ad3-c9c713528486" providerId="ADAL" clId="{ABF5D55C-529D-4792-9B01-710203B37FBD}" dt="2018-11-30T05:54:33.302" v="205" actId="14100"/>
          <ac:spMkLst>
            <pc:docMk/>
            <pc:sldMk cId="1006648404" sldId="2063"/>
            <ac:spMk id="107" creationId="{E333E893-0784-4C67-818D-E7D2B70B46EE}"/>
          </ac:spMkLst>
        </pc:spChg>
        <pc:spChg chg="mod">
          <ac:chgData name="Shubham Gupta" userId="7413dd0d-2d6e-486d-8ad3-c9c713528486" providerId="ADAL" clId="{ABF5D55C-529D-4792-9B01-710203B37FBD}" dt="2018-11-30T05:54:21.112" v="201" actId="14100"/>
          <ac:spMkLst>
            <pc:docMk/>
            <pc:sldMk cId="1006648404" sldId="2063"/>
            <ac:spMk id="108" creationId="{3E4D39C1-00D9-4BD9-B724-38C350905885}"/>
          </ac:spMkLst>
        </pc:spChg>
        <pc:spChg chg="mod">
          <ac:chgData name="Shubham Gupta" userId="7413dd0d-2d6e-486d-8ad3-c9c713528486" providerId="ADAL" clId="{ABF5D55C-529D-4792-9B01-710203B37FBD}" dt="2018-11-30T05:56:05.800" v="217" actId="14100"/>
          <ac:spMkLst>
            <pc:docMk/>
            <pc:sldMk cId="1006648404" sldId="2063"/>
            <ac:spMk id="125" creationId="{58AEE2F4-CA95-4248-A724-5F95BE96FA28}"/>
          </ac:spMkLst>
        </pc:spChg>
        <pc:spChg chg="mod">
          <ac:chgData name="Shubham Gupta" userId="7413dd0d-2d6e-486d-8ad3-c9c713528486" providerId="ADAL" clId="{ABF5D55C-529D-4792-9B01-710203B37FBD}" dt="2018-11-30T05:58:38.677" v="234" actId="20577"/>
          <ac:spMkLst>
            <pc:docMk/>
            <pc:sldMk cId="1006648404" sldId="2063"/>
            <ac:spMk id="204" creationId="{F08BCA84-D89D-4F19-AF33-796A2D2C3499}"/>
          </ac:spMkLst>
        </pc:spChg>
        <pc:spChg chg="mod">
          <ac:chgData name="Shubham Gupta" userId="7413dd0d-2d6e-486d-8ad3-c9c713528486" providerId="ADAL" clId="{ABF5D55C-529D-4792-9B01-710203B37FBD}" dt="2018-11-30T05:58:33.673" v="233" actId="20577"/>
          <ac:spMkLst>
            <pc:docMk/>
            <pc:sldMk cId="1006648404" sldId="2063"/>
            <ac:spMk id="225" creationId="{4195B693-923A-4CE0-B89D-6546D5D8490D}"/>
          </ac:spMkLst>
        </pc:spChg>
        <pc:spChg chg="mod">
          <ac:chgData name="Shubham Gupta" userId="7413dd0d-2d6e-486d-8ad3-c9c713528486" providerId="ADAL" clId="{ABF5D55C-529D-4792-9B01-710203B37FBD}" dt="2018-11-30T05:56:09.382" v="218" actId="14100"/>
          <ac:spMkLst>
            <pc:docMk/>
            <pc:sldMk cId="1006648404" sldId="2063"/>
            <ac:spMk id="230" creationId="{E00A991A-CD7C-40E1-9925-8E46CE326E18}"/>
          </ac:spMkLst>
        </pc:spChg>
        <pc:spChg chg="mod">
          <ac:chgData name="Shubham Gupta" userId="7413dd0d-2d6e-486d-8ad3-c9c713528486" providerId="ADAL" clId="{ABF5D55C-529D-4792-9B01-710203B37FBD}" dt="2018-11-30T05:55:09.703" v="207" actId="14100"/>
          <ac:spMkLst>
            <pc:docMk/>
            <pc:sldMk cId="1006648404" sldId="2063"/>
            <ac:spMk id="246" creationId="{55CFBBF5-63F9-4C9A-B327-37BC4AC3876C}"/>
          </ac:spMkLst>
        </pc:spChg>
        <pc:spChg chg="mod">
          <ac:chgData name="Shubham Gupta" userId="7413dd0d-2d6e-486d-8ad3-c9c713528486" providerId="ADAL" clId="{ABF5D55C-529D-4792-9B01-710203B37FBD}" dt="2018-11-30T05:54:24.879" v="202" actId="14100"/>
          <ac:spMkLst>
            <pc:docMk/>
            <pc:sldMk cId="1006648404" sldId="2063"/>
            <ac:spMk id="247" creationId="{96580AE3-2DD1-472C-BFA2-33B0616C1F8D}"/>
          </ac:spMkLst>
        </pc:spChg>
        <pc:spChg chg="mod">
          <ac:chgData name="Shubham Gupta" userId="7413dd0d-2d6e-486d-8ad3-c9c713528486" providerId="ADAL" clId="{ABF5D55C-529D-4792-9B01-710203B37FBD}" dt="2018-11-30T05:55:17.931" v="209" actId="14100"/>
          <ac:spMkLst>
            <pc:docMk/>
            <pc:sldMk cId="1006648404" sldId="2063"/>
            <ac:spMk id="249" creationId="{0477E657-7D8E-4581-80DF-50FD29F242A9}"/>
          </ac:spMkLst>
        </pc:spChg>
        <pc:spChg chg="mod">
          <ac:chgData name="Shubham Gupta" userId="7413dd0d-2d6e-486d-8ad3-c9c713528486" providerId="ADAL" clId="{ABF5D55C-529D-4792-9B01-710203B37FBD}" dt="2018-11-30T05:54:27.506" v="203" actId="14100"/>
          <ac:spMkLst>
            <pc:docMk/>
            <pc:sldMk cId="1006648404" sldId="2063"/>
            <ac:spMk id="251" creationId="{29FDBD1F-3CF5-4D75-968A-422D2BEC0E9F}"/>
          </ac:spMkLst>
        </pc:spChg>
        <pc:spChg chg="mod">
          <ac:chgData name="Shubham Gupta" userId="7413dd0d-2d6e-486d-8ad3-c9c713528486" providerId="ADAL" clId="{ABF5D55C-529D-4792-9B01-710203B37FBD}" dt="2018-11-30T05:52:58.709" v="188" actId="1036"/>
          <ac:spMkLst>
            <pc:docMk/>
            <pc:sldMk cId="1006648404" sldId="2063"/>
            <ac:spMk id="335" creationId="{EE1653DF-4E0A-4365-88A8-C1BEA2E38838}"/>
          </ac:spMkLst>
        </pc:spChg>
        <pc:cxnChg chg="mod">
          <ac:chgData name="Shubham Gupta" userId="7413dd0d-2d6e-486d-8ad3-c9c713528486" providerId="ADAL" clId="{ABF5D55C-529D-4792-9B01-710203B37FBD}" dt="2018-11-30T05:56:05.800" v="217" actId="14100"/>
          <ac:cxnSpMkLst>
            <pc:docMk/>
            <pc:sldMk cId="1006648404" sldId="2063"/>
            <ac:cxnSpMk id="33" creationId="{A5885ABB-3316-4262-831C-F1061F0728AB}"/>
          </ac:cxnSpMkLst>
        </pc:cxnChg>
        <pc:cxnChg chg="mod">
          <ac:chgData name="Shubham Gupta" userId="7413dd0d-2d6e-486d-8ad3-c9c713528486" providerId="ADAL" clId="{ABF5D55C-529D-4792-9B01-710203B37FBD}" dt="2018-11-30T05:56:01.493" v="216" actId="14100"/>
          <ac:cxnSpMkLst>
            <pc:docMk/>
            <pc:sldMk cId="1006648404" sldId="2063"/>
            <ac:cxnSpMk id="41" creationId="{5F6373A3-0280-48E3-A4E2-86A9F85ADFDB}"/>
          </ac:cxnSpMkLst>
        </pc:cxnChg>
        <pc:cxnChg chg="mod">
          <ac:chgData name="Shubham Gupta" userId="7413dd0d-2d6e-486d-8ad3-c9c713528486" providerId="ADAL" clId="{ABF5D55C-529D-4792-9B01-710203B37FBD}" dt="2018-11-30T05:56:01.493" v="216" actId="14100"/>
          <ac:cxnSpMkLst>
            <pc:docMk/>
            <pc:sldMk cId="1006648404" sldId="2063"/>
            <ac:cxnSpMk id="43" creationId="{0B5814E9-5645-4CB9-86E9-026BC1721665}"/>
          </ac:cxnSpMkLst>
        </pc:cxnChg>
        <pc:cxnChg chg="mod">
          <ac:chgData name="Shubham Gupta" userId="7413dd0d-2d6e-486d-8ad3-c9c713528486" providerId="ADAL" clId="{ABF5D55C-529D-4792-9B01-710203B37FBD}" dt="2018-11-30T05:56:05.800" v="217" actId="14100"/>
          <ac:cxnSpMkLst>
            <pc:docMk/>
            <pc:sldMk cId="1006648404" sldId="2063"/>
            <ac:cxnSpMk id="45" creationId="{9DA298FE-0602-40E7-973E-0B5AFD8D1C4E}"/>
          </ac:cxnSpMkLst>
        </pc:cxnChg>
        <pc:cxnChg chg="mod">
          <ac:chgData name="Shubham Gupta" userId="7413dd0d-2d6e-486d-8ad3-c9c713528486" providerId="ADAL" clId="{ABF5D55C-529D-4792-9B01-710203B37FBD}" dt="2018-11-30T05:56:16.734" v="219" actId="14100"/>
          <ac:cxnSpMkLst>
            <pc:docMk/>
            <pc:sldMk cId="1006648404" sldId="2063"/>
            <ac:cxnSpMk id="50" creationId="{68A3D5BC-9DD9-4A98-BDB3-467C59A6B07A}"/>
          </ac:cxnSpMkLst>
        </pc:cxnChg>
        <pc:cxnChg chg="mod">
          <ac:chgData name="Shubham Gupta" userId="7413dd0d-2d6e-486d-8ad3-c9c713528486" providerId="ADAL" clId="{ABF5D55C-529D-4792-9B01-710203B37FBD}" dt="2018-11-30T05:56:01.493" v="216" actId="14100"/>
          <ac:cxnSpMkLst>
            <pc:docMk/>
            <pc:sldMk cId="1006648404" sldId="2063"/>
            <ac:cxnSpMk id="253" creationId="{05CA919B-FA66-4F07-8A32-631D5D4E61B2}"/>
          </ac:cxnSpMkLst>
        </pc:cxnChg>
        <pc:cxnChg chg="mod">
          <ac:chgData name="Shubham Gupta" userId="7413dd0d-2d6e-486d-8ad3-c9c713528486" providerId="ADAL" clId="{ABF5D55C-529D-4792-9B01-710203B37FBD}" dt="2018-11-30T05:55:50.860" v="215" actId="552"/>
          <ac:cxnSpMkLst>
            <pc:docMk/>
            <pc:sldMk cId="1006648404" sldId="2063"/>
            <ac:cxnSpMk id="256" creationId="{B7D75D03-FB78-4969-95DB-D690496EB1B7}"/>
          </ac:cxnSpMkLst>
        </pc:cxnChg>
        <pc:cxnChg chg="mod">
          <ac:chgData name="Shubham Gupta" userId="7413dd0d-2d6e-486d-8ad3-c9c713528486" providerId="ADAL" clId="{ABF5D55C-529D-4792-9B01-710203B37FBD}" dt="2018-11-30T05:55:50.860" v="215" actId="552"/>
          <ac:cxnSpMkLst>
            <pc:docMk/>
            <pc:sldMk cId="1006648404" sldId="2063"/>
            <ac:cxnSpMk id="272" creationId="{C6D7241C-C49C-4917-ABE0-CE8CAC619C23}"/>
          </ac:cxnSpMkLst>
        </pc:cxnChg>
        <pc:cxnChg chg="mod">
          <ac:chgData name="Shubham Gupta" userId="7413dd0d-2d6e-486d-8ad3-c9c713528486" providerId="ADAL" clId="{ABF5D55C-529D-4792-9B01-710203B37FBD}" dt="2018-11-30T05:56:31.452" v="220" actId="14100"/>
          <ac:cxnSpMkLst>
            <pc:docMk/>
            <pc:sldMk cId="1006648404" sldId="2063"/>
            <ac:cxnSpMk id="273" creationId="{36BC19E4-8D17-4913-8953-C92D2CD90F69}"/>
          </ac:cxnSpMkLst>
        </pc:cxnChg>
        <pc:cxnChg chg="mod">
          <ac:chgData name="Shubham Gupta" userId="7413dd0d-2d6e-486d-8ad3-c9c713528486" providerId="ADAL" clId="{ABF5D55C-529D-4792-9B01-710203B37FBD}" dt="2018-11-30T05:55:13.508" v="208" actId="14100"/>
          <ac:cxnSpMkLst>
            <pc:docMk/>
            <pc:sldMk cId="1006648404" sldId="2063"/>
            <ac:cxnSpMk id="275" creationId="{AE2734E3-FC80-4843-92BE-89E187B04D3B}"/>
          </ac:cxnSpMkLst>
        </pc:cxnChg>
        <pc:cxnChg chg="mod">
          <ac:chgData name="Shubham Gupta" userId="7413dd0d-2d6e-486d-8ad3-c9c713528486" providerId="ADAL" clId="{ABF5D55C-529D-4792-9B01-710203B37FBD}" dt="2018-11-30T05:55:17.931" v="209" actId="14100"/>
          <ac:cxnSpMkLst>
            <pc:docMk/>
            <pc:sldMk cId="1006648404" sldId="2063"/>
            <ac:cxnSpMk id="276" creationId="{50AF497F-87F4-4413-B733-FAC297C96945}"/>
          </ac:cxnSpMkLst>
        </pc:cxnChg>
        <pc:cxnChg chg="mod">
          <ac:chgData name="Shubham Gupta" userId="7413dd0d-2d6e-486d-8ad3-c9c713528486" providerId="ADAL" clId="{ABF5D55C-529D-4792-9B01-710203B37FBD}" dt="2018-11-30T05:55:50.860" v="215" actId="552"/>
          <ac:cxnSpMkLst>
            <pc:docMk/>
            <pc:sldMk cId="1006648404" sldId="2063"/>
            <ac:cxnSpMk id="278" creationId="{60FF472C-0525-4AD2-9325-92D22FAEF005}"/>
          </ac:cxnSpMkLst>
        </pc:cxnChg>
        <pc:cxnChg chg="mod">
          <ac:chgData name="Shubham Gupta" userId="7413dd0d-2d6e-486d-8ad3-c9c713528486" providerId="ADAL" clId="{ABF5D55C-529D-4792-9B01-710203B37FBD}" dt="2018-11-30T05:56:09.382" v="218" actId="14100"/>
          <ac:cxnSpMkLst>
            <pc:docMk/>
            <pc:sldMk cId="1006648404" sldId="2063"/>
            <ac:cxnSpMk id="282" creationId="{23A524CC-D940-4004-AA31-93B2F2C0DEEE}"/>
          </ac:cxnSpMkLst>
        </pc:cxnChg>
        <pc:cxnChg chg="mod">
          <ac:chgData name="Shubham Gupta" userId="7413dd0d-2d6e-486d-8ad3-c9c713528486" providerId="ADAL" clId="{ABF5D55C-529D-4792-9B01-710203B37FBD}" dt="2018-11-30T05:55:30.965" v="212" actId="14100"/>
          <ac:cxnSpMkLst>
            <pc:docMk/>
            <pc:sldMk cId="1006648404" sldId="2063"/>
            <ac:cxnSpMk id="297" creationId="{0C857ACB-EB7E-4CBD-AB72-9425ABDF9218}"/>
          </ac:cxnSpMkLst>
        </pc:cxnChg>
        <pc:cxnChg chg="mod">
          <ac:chgData name="Shubham Gupta" userId="7413dd0d-2d6e-486d-8ad3-c9c713528486" providerId="ADAL" clId="{ABF5D55C-529D-4792-9B01-710203B37FBD}" dt="2018-11-30T05:55:30.965" v="212" actId="14100"/>
          <ac:cxnSpMkLst>
            <pc:docMk/>
            <pc:sldMk cId="1006648404" sldId="2063"/>
            <ac:cxnSpMk id="301" creationId="{BCB64651-756E-4178-AEDF-04909976D6A7}"/>
          </ac:cxnSpMkLst>
        </pc:cxnChg>
        <pc:cxnChg chg="mod">
          <ac:chgData name="Shubham Gupta" userId="7413dd0d-2d6e-486d-8ad3-c9c713528486" providerId="ADAL" clId="{ABF5D55C-529D-4792-9B01-710203B37FBD}" dt="2018-11-30T05:56:05.800" v="217" actId="14100"/>
          <ac:cxnSpMkLst>
            <pc:docMk/>
            <pc:sldMk cId="1006648404" sldId="2063"/>
            <ac:cxnSpMk id="320" creationId="{B22E0141-EECD-49C2-8AE1-5B07206FB952}"/>
          </ac:cxnSpMkLst>
        </pc:cxnChg>
        <pc:cxnChg chg="mod">
          <ac:chgData name="Shubham Gupta" userId="7413dd0d-2d6e-486d-8ad3-c9c713528486" providerId="ADAL" clId="{ABF5D55C-529D-4792-9B01-710203B37FBD}" dt="2018-11-30T05:55:22.317" v="210" actId="14100"/>
          <ac:cxnSpMkLst>
            <pc:docMk/>
            <pc:sldMk cId="1006648404" sldId="2063"/>
            <ac:cxnSpMk id="337" creationId="{16266370-2DC0-4A53-9364-0BE848E27D3C}"/>
          </ac:cxnSpMkLst>
        </pc:cxnChg>
      </pc:sldChg>
      <pc:sldChg chg="add">
        <pc:chgData name="Shubham Gupta" userId="7413dd0d-2d6e-486d-8ad3-c9c713528486" providerId="ADAL" clId="{ABF5D55C-529D-4792-9B01-710203B37FBD}" dt="2018-11-30T05:47:51.429" v="0"/>
        <pc:sldMkLst>
          <pc:docMk/>
          <pc:sldMk cId="1031829349" sldId="2064"/>
        </pc:sldMkLst>
      </pc:sldChg>
      <pc:sldChg chg="add">
        <pc:chgData name="Shubham Gupta" userId="7413dd0d-2d6e-486d-8ad3-c9c713528486" providerId="ADAL" clId="{ABF5D55C-529D-4792-9B01-710203B37FBD}" dt="2018-11-30T05:49:15.816" v="3"/>
        <pc:sldMkLst>
          <pc:docMk/>
          <pc:sldMk cId="61036170" sldId="206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pPr>
            <a:r>
              <a:rPr lang="en-US" sz="1800" b="1" dirty="0">
                <a:solidFill>
                  <a:srgbClr val="002060"/>
                </a:solidFill>
              </a:rPr>
              <a:t>Account receivable per secto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0434141675436962E-2"/>
          <c:y val="0.39101932915385357"/>
          <c:w val="0.43942179638901752"/>
          <c:h val="0.5127127422244783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8F1-440B-96D9-CD840903D13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F1-440B-96D9-CD840903D13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C66-4D35-905D-FB9C77A6F5DD}"/>
              </c:ext>
            </c:extLst>
          </c:dPt>
          <c:dPt>
            <c:idx val="3"/>
            <c:bubble3D val="0"/>
            <c:spPr>
              <a:solidFill>
                <a:srgbClr val="92D05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8F1-440B-96D9-CD840903D13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B10-4456-8B1F-6D3C9EE0F40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B10-4456-8B1F-6D3C9EE0F405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rgbClr val="002060"/>
                      </a:solidFill>
                      <a:latin typeface="Segoe UI" panose="020B0502040204020203" pitchFamily="34" charset="0"/>
                      <a:ea typeface="Segoe UI" panose="020B0502040204020203" pitchFamily="34" charset="0"/>
                      <a:cs typeface="Segoe UI" panose="020B0502040204020203" pitchFamily="34" charset="0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B8F1-440B-96D9-CD840903D13D}"/>
                </c:ext>
              </c:extLst>
            </c:dLbl>
            <c:dLbl>
              <c:idx val="3"/>
              <c:layout>
                <c:manualLayout>
                  <c:x val="-0.12552191425114834"/>
                  <c:y val="1.445714088645753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rgbClr val="002060"/>
                      </a:solidFill>
                      <a:latin typeface="Segoe UI" panose="020B0502040204020203" pitchFamily="34" charset="0"/>
                      <a:ea typeface="Segoe UI" panose="020B0502040204020203" pitchFamily="34" charset="0"/>
                      <a:cs typeface="Segoe UI" panose="020B0502040204020203" pitchFamily="34" charset="0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8F1-440B-96D9-CD840903D1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Lighting</c:v>
                </c:pt>
                <c:pt idx="1">
                  <c:v>Diagnosis &amp; Treatment</c:v>
                </c:pt>
                <c:pt idx="2">
                  <c:v>Personal Health</c:v>
                </c:pt>
                <c:pt idx="3">
                  <c:v>Connected Care &amp; Health Informatics</c:v>
                </c:pt>
                <c:pt idx="4">
                  <c:v>HealthTech Other</c:v>
                </c:pt>
                <c:pt idx="5">
                  <c:v>Other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29587339743589741</c:v>
                </c:pt>
                <c:pt idx="1">
                  <c:v>0.29567307692307693</c:v>
                </c:pt>
                <c:pt idx="2">
                  <c:v>0.25360576923076922</c:v>
                </c:pt>
                <c:pt idx="3">
                  <c:v>0.13301282051282051</c:v>
                </c:pt>
                <c:pt idx="4">
                  <c:v>1.622596153846154E-2</c:v>
                </c:pt>
                <c:pt idx="5">
                  <c:v>5.60897435897435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F1-440B-96D9-CD840903D13D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7149979344736346"/>
          <c:y val="0.30308265371932552"/>
          <c:w val="0.42363544131215997"/>
          <c:h val="0.636688874786108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rgbClr val="00206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pPr>
            <a:r>
              <a:rPr lang="en-US" sz="1800" b="1" dirty="0">
                <a:solidFill>
                  <a:srgbClr val="002060"/>
                </a:solidFill>
              </a:rPr>
              <a:t>Aging analysis of account receivable</a:t>
            </a:r>
          </a:p>
        </c:rich>
      </c:tx>
      <c:layout>
        <c:manualLayout>
          <c:xMode val="edge"/>
          <c:yMode val="edge"/>
          <c:x val="0.15791201205710212"/>
          <c:y val="2.906763833449298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rgbClr val="00206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8965384002406506E-2"/>
          <c:y val="0.20975543511431749"/>
          <c:w val="0.9485772328919454"/>
          <c:h val="0.635378393004642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urrent </c:v>
                </c:pt>
                <c:pt idx="1">
                  <c:v>Overdue 1-30 days</c:v>
                </c:pt>
                <c:pt idx="2">
                  <c:v>Overdue 31-180 days</c:v>
                </c:pt>
                <c:pt idx="3">
                  <c:v>Overdue &gt; 180 days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85596955128205132</c:v>
                </c:pt>
                <c:pt idx="1">
                  <c:v>5.348557692307692E-2</c:v>
                </c:pt>
                <c:pt idx="2">
                  <c:v>6.2099358974358976E-2</c:v>
                </c:pt>
                <c:pt idx="3">
                  <c:v>2.84455128205128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BD-4E41-BB8D-14411336BD5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9.4369064780276124E-2"/>
                  <c:y val="5.49055390762645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5B-4769-A16A-1EA09780ECB9}"/>
                </c:ext>
              </c:extLst>
            </c:dLbl>
            <c:dLbl>
              <c:idx val="1"/>
              <c:layout>
                <c:manualLayout>
                  <c:x val="3.9049268184941845E-2"/>
                  <c:y val="6.4594751854428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5B-4769-A16A-1EA09780ECB9}"/>
                </c:ext>
              </c:extLst>
            </c:dLbl>
            <c:dLbl>
              <c:idx val="2"/>
              <c:layout>
                <c:manualLayout>
                  <c:x val="4.8811585231177304E-2"/>
                  <c:y val="2.26081631490501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35B-4769-A16A-1EA09780ECB9}"/>
                </c:ext>
              </c:extLst>
            </c:dLbl>
            <c:dLbl>
              <c:idx val="3"/>
              <c:layout>
                <c:manualLayout>
                  <c:x val="4.2303373867020211E-2"/>
                  <c:y val="8.074343981803488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Segoe UI" panose="020B0502040204020203" pitchFamily="34" charset="0"/>
                      <a:ea typeface="Segoe UI" panose="020B0502040204020203" pitchFamily="34" charset="0"/>
                      <a:cs typeface="Segoe UI" panose="020B0502040204020203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486993057737059"/>
                      <c:h val="9.017427358878268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35B-4769-A16A-1EA09780EC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urrent </c:v>
                </c:pt>
                <c:pt idx="1">
                  <c:v>Overdue 1-30 days</c:v>
                </c:pt>
                <c:pt idx="2">
                  <c:v>Overdue 31-180 days</c:v>
                </c:pt>
                <c:pt idx="3">
                  <c:v>Overdue &gt; 180 days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83199999999999996</c:v>
                </c:pt>
                <c:pt idx="1">
                  <c:v>7.0933776669437523E-2</c:v>
                </c:pt>
                <c:pt idx="2">
                  <c:v>6.7054585757827648E-2</c:v>
                </c:pt>
                <c:pt idx="3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5B-4769-A16A-1EA09780ECB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83699664"/>
        <c:axId val="383699992"/>
      </c:barChart>
      <c:catAx>
        <c:axId val="383699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pPr>
            <a:endParaRPr lang="en-US"/>
          </a:p>
        </c:txPr>
        <c:crossAx val="383699992"/>
        <c:crosses val="autoZero"/>
        <c:auto val="1"/>
        <c:lblAlgn val="ctr"/>
        <c:lblOffset val="100"/>
        <c:noMultiLvlLbl val="0"/>
      </c:catAx>
      <c:valAx>
        <c:axId val="383699992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38369966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72942700579743269"/>
          <c:y val="0.23414147979964436"/>
          <c:w val="0.27057299420256731"/>
          <c:h val="0.140563266236170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76DD4A-FC0C-45E0-ABEF-C070A8939E85}" type="doc">
      <dgm:prSet loTypeId="urn:microsoft.com/office/officeart/2009/3/layout/HorizontalOrganizationChart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87B971-48AA-4772-8EC1-2A4014B35708}">
      <dgm:prSet phldrT="[Text]" custT="1"/>
      <dgm:spPr>
        <a:ln>
          <a:noFill/>
        </a:ln>
      </dgm:spPr>
      <dgm:t>
        <a:bodyPr/>
        <a:lstStyle/>
        <a:p>
          <a:r>
            <a:rPr lang="en-US" sz="1300" dirty="0"/>
            <a:t>Optimize collection effort Before Charge-off</a:t>
          </a:r>
        </a:p>
      </dgm:t>
    </dgm:pt>
    <dgm:pt modelId="{914DF2CE-9A1B-416A-96C9-ABFA5CFD1C4A}" type="parTrans" cxnId="{76234063-2910-4E0D-B194-FEEE2FDB10FD}">
      <dgm:prSet/>
      <dgm:spPr>
        <a:ln w="9525"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C9B6017F-BD5F-4A98-9F1B-C6757F9E9F9F}" type="sibTrans" cxnId="{76234063-2910-4E0D-B194-FEEE2FDB10FD}">
      <dgm:prSet/>
      <dgm:spPr/>
      <dgm:t>
        <a:bodyPr/>
        <a:lstStyle/>
        <a:p>
          <a:endParaRPr lang="en-US"/>
        </a:p>
      </dgm:t>
    </dgm:pt>
    <dgm:pt modelId="{7F64B528-E5FC-4E54-857A-D2F2CC62274A}">
      <dgm:prSet phldrT="[Text]" custT="1"/>
      <dgm:spPr>
        <a:ln>
          <a:noFill/>
        </a:ln>
      </dgm:spPr>
      <dgm:t>
        <a:bodyPr/>
        <a:lstStyle/>
        <a:p>
          <a:r>
            <a:rPr lang="en-US" sz="1300" kern="1200" dirty="0">
              <a:solidFill>
                <a:srgbClr val="474C55"/>
              </a:solidFill>
              <a:latin typeface="Calibri" panose="020F0502020204030204"/>
              <a:ea typeface="+mn-ea"/>
              <a:cs typeface="+mn-cs"/>
            </a:rPr>
            <a:t>How to optimize collection efforts to recover delinquent payments to 10%</a:t>
          </a:r>
        </a:p>
      </dgm:t>
    </dgm:pt>
    <dgm:pt modelId="{E9682B7E-B0D9-4F5C-96E2-6FEFAD106BE1}" type="parTrans" cxnId="{DFB1B5FC-D0A3-48D9-BBA3-A1433A6BE793}">
      <dgm:prSet/>
      <dgm:spPr/>
      <dgm:t>
        <a:bodyPr/>
        <a:lstStyle/>
        <a:p>
          <a:endParaRPr lang="en-US"/>
        </a:p>
      </dgm:t>
    </dgm:pt>
    <dgm:pt modelId="{5932F576-DA71-4A94-9A99-02DEE9A9FA04}" type="sibTrans" cxnId="{DFB1B5FC-D0A3-48D9-BBA3-A1433A6BE793}">
      <dgm:prSet/>
      <dgm:spPr/>
      <dgm:t>
        <a:bodyPr/>
        <a:lstStyle/>
        <a:p>
          <a:endParaRPr lang="en-US"/>
        </a:p>
      </dgm:t>
    </dgm:pt>
    <dgm:pt modelId="{5F054D0C-791D-46F2-9CA2-2631D52B7B5F}">
      <dgm:prSet phldrT="[Text]" custT="1"/>
      <dgm:spPr>
        <a:ln>
          <a:noFill/>
        </a:ln>
      </dgm:spPr>
      <dgm:t>
        <a:bodyPr/>
        <a:lstStyle/>
        <a:p>
          <a:r>
            <a:rPr lang="en-IN" sz="1300" dirty="0"/>
            <a:t>Optimize collection efforts once account is charged-off</a:t>
          </a:r>
          <a:endParaRPr lang="en-US" sz="1300" dirty="0"/>
        </a:p>
      </dgm:t>
    </dgm:pt>
    <dgm:pt modelId="{8C18085B-407D-4D09-85A0-D5931B31D874}" type="parTrans" cxnId="{6D5C6F0B-7F60-47EC-9FAA-71CCE70DC0FC}">
      <dgm:prSet/>
      <dgm:spPr>
        <a:ln w="9525"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668B0E97-3C70-4834-B216-53143E22BB95}" type="sibTrans" cxnId="{6D5C6F0B-7F60-47EC-9FAA-71CCE70DC0FC}">
      <dgm:prSet/>
      <dgm:spPr/>
      <dgm:t>
        <a:bodyPr/>
        <a:lstStyle/>
        <a:p>
          <a:endParaRPr lang="en-US"/>
        </a:p>
      </dgm:t>
    </dgm:pt>
    <dgm:pt modelId="{3CDE789E-F19A-444E-B3FE-DEE9881ED12D}" type="pres">
      <dgm:prSet presAssocID="{E576DD4A-FC0C-45E0-ABEF-C070A8939E8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84598E2-1BF7-4AB3-9357-A30594EAACC2}" type="pres">
      <dgm:prSet presAssocID="{7F64B528-E5FC-4E54-857A-D2F2CC62274A}" presName="hierRoot1" presStyleCnt="0">
        <dgm:presLayoutVars>
          <dgm:hierBranch val="init"/>
        </dgm:presLayoutVars>
      </dgm:prSet>
      <dgm:spPr/>
    </dgm:pt>
    <dgm:pt modelId="{CE6F8E5C-526E-49D3-B191-D80EBD340003}" type="pres">
      <dgm:prSet presAssocID="{7F64B528-E5FC-4E54-857A-D2F2CC62274A}" presName="rootComposite1" presStyleCnt="0"/>
      <dgm:spPr/>
    </dgm:pt>
    <dgm:pt modelId="{9BD10B39-F17A-4BE5-BF00-62362637F086}" type="pres">
      <dgm:prSet presAssocID="{7F64B528-E5FC-4E54-857A-D2F2CC62274A}" presName="rootText1" presStyleLbl="node0" presStyleIdx="0" presStyleCnt="1" custScaleX="19855" custScaleY="26256" custLinFactNeighborX="-1961" custLinFactNeighborY="-1722">
        <dgm:presLayoutVars>
          <dgm:chPref val="3"/>
        </dgm:presLayoutVars>
      </dgm:prSet>
      <dgm:spPr/>
    </dgm:pt>
    <dgm:pt modelId="{F4F760CF-3F51-4363-A106-619DA4A537C0}" type="pres">
      <dgm:prSet presAssocID="{7F64B528-E5FC-4E54-857A-D2F2CC62274A}" presName="rootConnector1" presStyleLbl="node1" presStyleIdx="0" presStyleCnt="0"/>
      <dgm:spPr/>
    </dgm:pt>
    <dgm:pt modelId="{A95A09BB-33B1-4E3D-9CB6-B5FD397CF988}" type="pres">
      <dgm:prSet presAssocID="{7F64B528-E5FC-4E54-857A-D2F2CC62274A}" presName="hierChild2" presStyleCnt="0"/>
      <dgm:spPr/>
    </dgm:pt>
    <dgm:pt modelId="{6F5158F6-567C-456E-8852-06864D022389}" type="pres">
      <dgm:prSet presAssocID="{914DF2CE-9A1B-416A-96C9-ABFA5CFD1C4A}" presName="Name64" presStyleLbl="parChTrans1D2" presStyleIdx="0" presStyleCnt="2"/>
      <dgm:spPr/>
    </dgm:pt>
    <dgm:pt modelId="{183EECF0-21C4-4511-8E49-0AB8DB472F98}" type="pres">
      <dgm:prSet presAssocID="{4287B971-48AA-4772-8EC1-2A4014B35708}" presName="hierRoot2" presStyleCnt="0">
        <dgm:presLayoutVars>
          <dgm:hierBranch val="init"/>
        </dgm:presLayoutVars>
      </dgm:prSet>
      <dgm:spPr/>
    </dgm:pt>
    <dgm:pt modelId="{40C193B8-A14C-4411-98C4-A68F1D42FA04}" type="pres">
      <dgm:prSet presAssocID="{4287B971-48AA-4772-8EC1-2A4014B35708}" presName="rootComposite" presStyleCnt="0"/>
      <dgm:spPr/>
    </dgm:pt>
    <dgm:pt modelId="{740E0014-DE5C-41ED-AE02-53CF8357E2DE}" type="pres">
      <dgm:prSet presAssocID="{4287B971-48AA-4772-8EC1-2A4014B35708}" presName="rootText" presStyleLbl="node2" presStyleIdx="0" presStyleCnt="2" custScaleX="21004" custScaleY="24479">
        <dgm:presLayoutVars>
          <dgm:chPref val="3"/>
        </dgm:presLayoutVars>
      </dgm:prSet>
      <dgm:spPr/>
    </dgm:pt>
    <dgm:pt modelId="{96404F1E-3D88-47F3-9CCF-FF7B4F8AF0B8}" type="pres">
      <dgm:prSet presAssocID="{4287B971-48AA-4772-8EC1-2A4014B35708}" presName="rootConnector" presStyleLbl="node2" presStyleIdx="0" presStyleCnt="2"/>
      <dgm:spPr/>
    </dgm:pt>
    <dgm:pt modelId="{AE24A3B8-FE9D-4514-86B2-C20111587A55}" type="pres">
      <dgm:prSet presAssocID="{4287B971-48AA-4772-8EC1-2A4014B35708}" presName="hierChild4" presStyleCnt="0"/>
      <dgm:spPr/>
    </dgm:pt>
    <dgm:pt modelId="{C3FC3A65-602A-41D8-9078-49730C946530}" type="pres">
      <dgm:prSet presAssocID="{4287B971-48AA-4772-8EC1-2A4014B35708}" presName="hierChild5" presStyleCnt="0"/>
      <dgm:spPr/>
    </dgm:pt>
    <dgm:pt modelId="{FA5090EB-ADCD-4436-A877-A5405D9FD4C8}" type="pres">
      <dgm:prSet presAssocID="{8C18085B-407D-4D09-85A0-D5931B31D874}" presName="Name64" presStyleLbl="parChTrans1D2" presStyleIdx="1" presStyleCnt="2"/>
      <dgm:spPr/>
    </dgm:pt>
    <dgm:pt modelId="{CD5E66DF-E4F7-411D-B17A-DDC116823214}" type="pres">
      <dgm:prSet presAssocID="{5F054D0C-791D-46F2-9CA2-2631D52B7B5F}" presName="hierRoot2" presStyleCnt="0">
        <dgm:presLayoutVars>
          <dgm:hierBranch val="init"/>
        </dgm:presLayoutVars>
      </dgm:prSet>
      <dgm:spPr/>
    </dgm:pt>
    <dgm:pt modelId="{6839DE7C-E9D1-435C-A061-17DA878A0F9A}" type="pres">
      <dgm:prSet presAssocID="{5F054D0C-791D-46F2-9CA2-2631D52B7B5F}" presName="rootComposite" presStyleCnt="0"/>
      <dgm:spPr/>
    </dgm:pt>
    <dgm:pt modelId="{F685F629-753B-4FFA-ACAA-28DC59DFC453}" type="pres">
      <dgm:prSet presAssocID="{5F054D0C-791D-46F2-9CA2-2631D52B7B5F}" presName="rootText" presStyleLbl="node2" presStyleIdx="1" presStyleCnt="2" custScaleX="21004" custScaleY="24479">
        <dgm:presLayoutVars>
          <dgm:chPref val="3"/>
        </dgm:presLayoutVars>
      </dgm:prSet>
      <dgm:spPr/>
    </dgm:pt>
    <dgm:pt modelId="{01D69C4D-04C5-44C7-B2C2-B0866C88C68D}" type="pres">
      <dgm:prSet presAssocID="{5F054D0C-791D-46F2-9CA2-2631D52B7B5F}" presName="rootConnector" presStyleLbl="node2" presStyleIdx="1" presStyleCnt="2"/>
      <dgm:spPr/>
    </dgm:pt>
    <dgm:pt modelId="{BDC5BF71-2B0B-4BED-B584-E7A2C7869417}" type="pres">
      <dgm:prSet presAssocID="{5F054D0C-791D-46F2-9CA2-2631D52B7B5F}" presName="hierChild4" presStyleCnt="0"/>
      <dgm:spPr/>
    </dgm:pt>
    <dgm:pt modelId="{91AFFD88-01CD-479F-8F77-7A2BCF503428}" type="pres">
      <dgm:prSet presAssocID="{5F054D0C-791D-46F2-9CA2-2631D52B7B5F}" presName="hierChild5" presStyleCnt="0"/>
      <dgm:spPr/>
    </dgm:pt>
    <dgm:pt modelId="{68E93EB9-AAAB-4D4F-BF76-FFCE42244FD3}" type="pres">
      <dgm:prSet presAssocID="{7F64B528-E5FC-4E54-857A-D2F2CC62274A}" presName="hierChild3" presStyleCnt="0"/>
      <dgm:spPr/>
    </dgm:pt>
  </dgm:ptLst>
  <dgm:cxnLst>
    <dgm:cxn modelId="{6D5C6F0B-7F60-47EC-9FAA-71CCE70DC0FC}" srcId="{7F64B528-E5FC-4E54-857A-D2F2CC62274A}" destId="{5F054D0C-791D-46F2-9CA2-2631D52B7B5F}" srcOrd="1" destOrd="0" parTransId="{8C18085B-407D-4D09-85A0-D5931B31D874}" sibTransId="{668B0E97-3C70-4834-B216-53143E22BB95}"/>
    <dgm:cxn modelId="{2CBD1F10-14F6-42A6-BBF9-961DE16FB048}" type="presOf" srcId="{7F64B528-E5FC-4E54-857A-D2F2CC62274A}" destId="{9BD10B39-F17A-4BE5-BF00-62362637F086}" srcOrd="0" destOrd="0" presId="urn:microsoft.com/office/officeart/2009/3/layout/HorizontalOrganizationChart"/>
    <dgm:cxn modelId="{76234063-2910-4E0D-B194-FEEE2FDB10FD}" srcId="{7F64B528-E5FC-4E54-857A-D2F2CC62274A}" destId="{4287B971-48AA-4772-8EC1-2A4014B35708}" srcOrd="0" destOrd="0" parTransId="{914DF2CE-9A1B-416A-96C9-ABFA5CFD1C4A}" sibTransId="{C9B6017F-BD5F-4A98-9F1B-C6757F9E9F9F}"/>
    <dgm:cxn modelId="{99AE8B63-24CC-48AA-B88E-FA3868441607}" type="presOf" srcId="{E576DD4A-FC0C-45E0-ABEF-C070A8939E85}" destId="{3CDE789E-F19A-444E-B3FE-DEE9881ED12D}" srcOrd="0" destOrd="0" presId="urn:microsoft.com/office/officeart/2009/3/layout/HorizontalOrganizationChart"/>
    <dgm:cxn modelId="{28297E65-67BC-41B2-A00E-88ADB11FFC1E}" type="presOf" srcId="{4287B971-48AA-4772-8EC1-2A4014B35708}" destId="{96404F1E-3D88-47F3-9CCF-FF7B4F8AF0B8}" srcOrd="1" destOrd="0" presId="urn:microsoft.com/office/officeart/2009/3/layout/HorizontalOrganizationChart"/>
    <dgm:cxn modelId="{0A8A677A-A15B-41B5-BA35-74FD68A4937F}" type="presOf" srcId="{5F054D0C-791D-46F2-9CA2-2631D52B7B5F}" destId="{F685F629-753B-4FFA-ACAA-28DC59DFC453}" srcOrd="0" destOrd="0" presId="urn:microsoft.com/office/officeart/2009/3/layout/HorizontalOrganizationChart"/>
    <dgm:cxn modelId="{1064CC83-D261-4A6E-9786-3F2C953DD8A7}" type="presOf" srcId="{8C18085B-407D-4D09-85A0-D5931B31D874}" destId="{FA5090EB-ADCD-4436-A877-A5405D9FD4C8}" srcOrd="0" destOrd="0" presId="urn:microsoft.com/office/officeart/2009/3/layout/HorizontalOrganizationChart"/>
    <dgm:cxn modelId="{2FF80697-5E6D-4954-A5A8-A08E17199208}" type="presOf" srcId="{914DF2CE-9A1B-416A-96C9-ABFA5CFD1C4A}" destId="{6F5158F6-567C-456E-8852-06864D022389}" srcOrd="0" destOrd="0" presId="urn:microsoft.com/office/officeart/2009/3/layout/HorizontalOrganizationChart"/>
    <dgm:cxn modelId="{DE8FDD9E-85B9-4C93-91F2-7B0425C8C1CE}" type="presOf" srcId="{7F64B528-E5FC-4E54-857A-D2F2CC62274A}" destId="{F4F760CF-3F51-4363-A106-619DA4A537C0}" srcOrd="1" destOrd="0" presId="urn:microsoft.com/office/officeart/2009/3/layout/HorizontalOrganizationChart"/>
    <dgm:cxn modelId="{A45625B1-9361-40EF-B539-08ACF6358797}" type="presOf" srcId="{4287B971-48AA-4772-8EC1-2A4014B35708}" destId="{740E0014-DE5C-41ED-AE02-53CF8357E2DE}" srcOrd="0" destOrd="0" presId="urn:microsoft.com/office/officeart/2009/3/layout/HorizontalOrganizationChart"/>
    <dgm:cxn modelId="{0BDC1FF5-E857-458E-94BE-5EB032B7EFD9}" type="presOf" srcId="{5F054D0C-791D-46F2-9CA2-2631D52B7B5F}" destId="{01D69C4D-04C5-44C7-B2C2-B0866C88C68D}" srcOrd="1" destOrd="0" presId="urn:microsoft.com/office/officeart/2009/3/layout/HorizontalOrganizationChart"/>
    <dgm:cxn modelId="{DFB1B5FC-D0A3-48D9-BBA3-A1433A6BE793}" srcId="{E576DD4A-FC0C-45E0-ABEF-C070A8939E85}" destId="{7F64B528-E5FC-4E54-857A-D2F2CC62274A}" srcOrd="0" destOrd="0" parTransId="{E9682B7E-B0D9-4F5C-96E2-6FEFAD106BE1}" sibTransId="{5932F576-DA71-4A94-9A99-02DEE9A9FA04}"/>
    <dgm:cxn modelId="{E4650B6F-0593-4F25-9836-F44C81514B81}" type="presParOf" srcId="{3CDE789E-F19A-444E-B3FE-DEE9881ED12D}" destId="{384598E2-1BF7-4AB3-9357-A30594EAACC2}" srcOrd="0" destOrd="0" presId="urn:microsoft.com/office/officeart/2009/3/layout/HorizontalOrganizationChart"/>
    <dgm:cxn modelId="{37DDFFD2-03E7-473B-BB71-E6BEE65C43E0}" type="presParOf" srcId="{384598E2-1BF7-4AB3-9357-A30594EAACC2}" destId="{CE6F8E5C-526E-49D3-B191-D80EBD340003}" srcOrd="0" destOrd="0" presId="urn:microsoft.com/office/officeart/2009/3/layout/HorizontalOrganizationChart"/>
    <dgm:cxn modelId="{F0A63B78-60AA-45E1-B6FA-D1DD34646BB5}" type="presParOf" srcId="{CE6F8E5C-526E-49D3-B191-D80EBD340003}" destId="{9BD10B39-F17A-4BE5-BF00-62362637F086}" srcOrd="0" destOrd="0" presId="urn:microsoft.com/office/officeart/2009/3/layout/HorizontalOrganizationChart"/>
    <dgm:cxn modelId="{6C17C384-ED2C-43C8-8AAF-C03D383BF96E}" type="presParOf" srcId="{CE6F8E5C-526E-49D3-B191-D80EBD340003}" destId="{F4F760CF-3F51-4363-A106-619DA4A537C0}" srcOrd="1" destOrd="0" presId="urn:microsoft.com/office/officeart/2009/3/layout/HorizontalOrganizationChart"/>
    <dgm:cxn modelId="{C1F89A77-4E86-4E71-A593-2DA0ACB35739}" type="presParOf" srcId="{384598E2-1BF7-4AB3-9357-A30594EAACC2}" destId="{A95A09BB-33B1-4E3D-9CB6-B5FD397CF988}" srcOrd="1" destOrd="0" presId="urn:microsoft.com/office/officeart/2009/3/layout/HorizontalOrganizationChart"/>
    <dgm:cxn modelId="{6B139693-25EB-47A4-ABC6-2920BD476AB4}" type="presParOf" srcId="{A95A09BB-33B1-4E3D-9CB6-B5FD397CF988}" destId="{6F5158F6-567C-456E-8852-06864D022389}" srcOrd="0" destOrd="0" presId="urn:microsoft.com/office/officeart/2009/3/layout/HorizontalOrganizationChart"/>
    <dgm:cxn modelId="{FA1527F8-DADC-4242-9090-24508939FF65}" type="presParOf" srcId="{A95A09BB-33B1-4E3D-9CB6-B5FD397CF988}" destId="{183EECF0-21C4-4511-8E49-0AB8DB472F98}" srcOrd="1" destOrd="0" presId="urn:microsoft.com/office/officeart/2009/3/layout/HorizontalOrganizationChart"/>
    <dgm:cxn modelId="{ACEB83F7-C68C-477C-9F73-747648156205}" type="presParOf" srcId="{183EECF0-21C4-4511-8E49-0AB8DB472F98}" destId="{40C193B8-A14C-4411-98C4-A68F1D42FA04}" srcOrd="0" destOrd="0" presId="urn:microsoft.com/office/officeart/2009/3/layout/HorizontalOrganizationChart"/>
    <dgm:cxn modelId="{598091EB-4259-42D1-9E83-1DB8ABFADA4C}" type="presParOf" srcId="{40C193B8-A14C-4411-98C4-A68F1D42FA04}" destId="{740E0014-DE5C-41ED-AE02-53CF8357E2DE}" srcOrd="0" destOrd="0" presId="urn:microsoft.com/office/officeart/2009/3/layout/HorizontalOrganizationChart"/>
    <dgm:cxn modelId="{95C28F7A-BE12-4094-90E6-6CEF621A5B2D}" type="presParOf" srcId="{40C193B8-A14C-4411-98C4-A68F1D42FA04}" destId="{96404F1E-3D88-47F3-9CCF-FF7B4F8AF0B8}" srcOrd="1" destOrd="0" presId="urn:microsoft.com/office/officeart/2009/3/layout/HorizontalOrganizationChart"/>
    <dgm:cxn modelId="{C04640B9-AB65-45EA-8716-D8FFC76C3FF7}" type="presParOf" srcId="{183EECF0-21C4-4511-8E49-0AB8DB472F98}" destId="{AE24A3B8-FE9D-4514-86B2-C20111587A55}" srcOrd="1" destOrd="0" presId="urn:microsoft.com/office/officeart/2009/3/layout/HorizontalOrganizationChart"/>
    <dgm:cxn modelId="{5EB74DB9-5FBF-477D-B6BC-10341ABC35A4}" type="presParOf" srcId="{183EECF0-21C4-4511-8E49-0AB8DB472F98}" destId="{C3FC3A65-602A-41D8-9078-49730C946530}" srcOrd="2" destOrd="0" presId="urn:microsoft.com/office/officeart/2009/3/layout/HorizontalOrganizationChart"/>
    <dgm:cxn modelId="{D74685AC-4338-4D82-874A-F86E3093B891}" type="presParOf" srcId="{A95A09BB-33B1-4E3D-9CB6-B5FD397CF988}" destId="{FA5090EB-ADCD-4436-A877-A5405D9FD4C8}" srcOrd="2" destOrd="0" presId="urn:microsoft.com/office/officeart/2009/3/layout/HorizontalOrganizationChart"/>
    <dgm:cxn modelId="{6CB8F955-15C1-4354-ABC9-239397DC0BBE}" type="presParOf" srcId="{A95A09BB-33B1-4E3D-9CB6-B5FD397CF988}" destId="{CD5E66DF-E4F7-411D-B17A-DDC116823214}" srcOrd="3" destOrd="0" presId="urn:microsoft.com/office/officeart/2009/3/layout/HorizontalOrganizationChart"/>
    <dgm:cxn modelId="{03A31239-9030-426C-B7B0-2FBCEC1182F3}" type="presParOf" srcId="{CD5E66DF-E4F7-411D-B17A-DDC116823214}" destId="{6839DE7C-E9D1-435C-A061-17DA878A0F9A}" srcOrd="0" destOrd="0" presId="urn:microsoft.com/office/officeart/2009/3/layout/HorizontalOrganizationChart"/>
    <dgm:cxn modelId="{8C2C00D9-4CA5-4469-B1A4-30508774304C}" type="presParOf" srcId="{6839DE7C-E9D1-435C-A061-17DA878A0F9A}" destId="{F685F629-753B-4FFA-ACAA-28DC59DFC453}" srcOrd="0" destOrd="0" presId="urn:microsoft.com/office/officeart/2009/3/layout/HorizontalOrganizationChart"/>
    <dgm:cxn modelId="{D7331FA5-6BBF-466C-859F-A544D4BFF0AE}" type="presParOf" srcId="{6839DE7C-E9D1-435C-A061-17DA878A0F9A}" destId="{01D69C4D-04C5-44C7-B2C2-B0866C88C68D}" srcOrd="1" destOrd="0" presId="urn:microsoft.com/office/officeart/2009/3/layout/HorizontalOrganizationChart"/>
    <dgm:cxn modelId="{C448C527-F1B4-4E10-BFFA-0C111EDF681F}" type="presParOf" srcId="{CD5E66DF-E4F7-411D-B17A-DDC116823214}" destId="{BDC5BF71-2B0B-4BED-B584-E7A2C7869417}" srcOrd="1" destOrd="0" presId="urn:microsoft.com/office/officeart/2009/3/layout/HorizontalOrganizationChart"/>
    <dgm:cxn modelId="{79BC0527-D49D-4286-9D56-3C36BD4EDFE9}" type="presParOf" srcId="{CD5E66DF-E4F7-411D-B17A-DDC116823214}" destId="{91AFFD88-01CD-479F-8F77-7A2BCF503428}" srcOrd="2" destOrd="0" presId="urn:microsoft.com/office/officeart/2009/3/layout/HorizontalOrganizationChart"/>
    <dgm:cxn modelId="{0DDA46DE-74D3-4ECF-A2E2-65F1EC7713E0}" type="presParOf" srcId="{384598E2-1BF7-4AB3-9357-A30594EAACC2}" destId="{68E93EB9-AAAB-4D4F-BF76-FFCE42244FD3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576DD4A-FC0C-45E0-ABEF-C070A8939E85}" type="doc">
      <dgm:prSet loTypeId="urn:microsoft.com/office/officeart/2009/3/layout/HorizontalOrganizationChart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EE12B231-A0A6-4768-A934-ACEAB8CAB8DF}">
      <dgm:prSet phldrT="[Text]"/>
      <dgm:spPr>
        <a:ln>
          <a:noFill/>
        </a:ln>
      </dgm:spPr>
      <dgm:t>
        <a:bodyPr/>
        <a:lstStyle/>
        <a:p>
          <a:r>
            <a:rPr lang="en-US" dirty="0"/>
            <a:t>Optimize collection effort Before Charge-off</a:t>
          </a:r>
        </a:p>
      </dgm:t>
    </dgm:pt>
    <dgm:pt modelId="{73D470E0-14AA-43CB-AB74-1EF8DA001E7B}" type="parTrans" cxnId="{49EEFFB5-F024-4C33-9571-7F49468223E5}">
      <dgm:prSet/>
      <dgm:spPr/>
      <dgm:t>
        <a:bodyPr/>
        <a:lstStyle/>
        <a:p>
          <a:endParaRPr lang="en-US"/>
        </a:p>
      </dgm:t>
    </dgm:pt>
    <dgm:pt modelId="{9009CAC9-4C6C-46F2-85D6-723AA8C1A561}" type="sibTrans" cxnId="{49EEFFB5-F024-4C33-9571-7F49468223E5}">
      <dgm:prSet/>
      <dgm:spPr/>
      <dgm:t>
        <a:bodyPr/>
        <a:lstStyle/>
        <a:p>
          <a:endParaRPr lang="en-US"/>
        </a:p>
      </dgm:t>
    </dgm:pt>
    <dgm:pt modelId="{ABCB5463-77B5-4836-9F99-0B5FE36DDA58}">
      <dgm:prSet phldrT="[Text]"/>
      <dgm:spPr>
        <a:ln>
          <a:noFill/>
        </a:ln>
      </dgm:spPr>
      <dgm:t>
        <a:bodyPr/>
        <a:lstStyle/>
        <a:p>
          <a:r>
            <a:rPr lang="en-US" dirty="0"/>
            <a:t>Contact the client </a:t>
          </a:r>
        </a:p>
      </dgm:t>
    </dgm:pt>
    <dgm:pt modelId="{460B0128-F893-4428-AF46-15A8C0E6517E}" type="parTrans" cxnId="{AFA941F0-E73B-4CBF-B2E3-CB2D119C8CE9}">
      <dgm:prSet/>
      <dgm:spPr>
        <a:solidFill>
          <a:schemeClr val="bg1">
            <a:lumMod val="50000"/>
          </a:schemeClr>
        </a:solidFill>
        <a:ln w="9525"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1A4DDD41-4025-4310-94E9-BAC5DD6E0BDD}" type="sibTrans" cxnId="{AFA941F0-E73B-4CBF-B2E3-CB2D119C8CE9}">
      <dgm:prSet/>
      <dgm:spPr/>
      <dgm:t>
        <a:bodyPr/>
        <a:lstStyle/>
        <a:p>
          <a:endParaRPr lang="en-US"/>
        </a:p>
      </dgm:t>
    </dgm:pt>
    <dgm:pt modelId="{174031BD-2FE9-4F79-9579-F4F6410D72D7}">
      <dgm:prSet phldrT="[Text]"/>
      <dgm:spPr>
        <a:ln>
          <a:noFill/>
        </a:ln>
      </dgm:spPr>
      <dgm:t>
        <a:bodyPr/>
        <a:lstStyle/>
        <a:p>
          <a:r>
            <a:rPr lang="en-US" dirty="0"/>
            <a:t> Successful contact</a:t>
          </a:r>
        </a:p>
      </dgm:t>
    </dgm:pt>
    <dgm:pt modelId="{515EDAC8-DB2A-4300-BE93-8459720B5BF7}" type="parTrans" cxnId="{935E077D-DAD7-4E4F-8707-297B5B34C1A2}">
      <dgm:prSet/>
      <dgm:spPr>
        <a:solidFill>
          <a:schemeClr val="bg1">
            <a:lumMod val="50000"/>
          </a:schemeClr>
        </a:solidFill>
        <a:ln w="9525"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26D35589-D7F4-4195-B678-949082B1127D}" type="sibTrans" cxnId="{935E077D-DAD7-4E4F-8707-297B5B34C1A2}">
      <dgm:prSet/>
      <dgm:spPr/>
      <dgm:t>
        <a:bodyPr/>
        <a:lstStyle/>
        <a:p>
          <a:endParaRPr lang="en-US"/>
        </a:p>
      </dgm:t>
    </dgm:pt>
    <dgm:pt modelId="{F1A9027F-EF3C-493D-8137-8335F4B1BF3C}">
      <dgm:prSet/>
      <dgm:spPr>
        <a:ln>
          <a:noFill/>
        </a:ln>
      </dgm:spPr>
      <dgm:t>
        <a:bodyPr/>
        <a:lstStyle/>
        <a:p>
          <a:r>
            <a:rPr lang="en-US" dirty="0"/>
            <a:t>Ready</a:t>
          </a:r>
          <a:r>
            <a:rPr lang="en-US" baseline="0" dirty="0"/>
            <a:t> to pay immediately</a:t>
          </a:r>
          <a:endParaRPr lang="en-US" dirty="0"/>
        </a:p>
      </dgm:t>
    </dgm:pt>
    <dgm:pt modelId="{8F170C17-3D39-4AC4-9D0D-0ADD96592BD1}" type="parTrans" cxnId="{CD113311-8DB8-4BD8-BA5C-0B650577C07C}">
      <dgm:prSet/>
      <dgm:spPr>
        <a:solidFill>
          <a:schemeClr val="bg1">
            <a:lumMod val="50000"/>
          </a:schemeClr>
        </a:solidFill>
        <a:ln w="9525"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4D79E43A-0B5E-4B9D-9F47-FD699F3D830C}" type="sibTrans" cxnId="{CD113311-8DB8-4BD8-BA5C-0B650577C07C}">
      <dgm:prSet/>
      <dgm:spPr/>
      <dgm:t>
        <a:bodyPr/>
        <a:lstStyle/>
        <a:p>
          <a:endParaRPr lang="en-US"/>
        </a:p>
      </dgm:t>
    </dgm:pt>
    <dgm:pt modelId="{C2286186-FB7E-495D-A04D-69C363E69E80}">
      <dgm:prSet/>
      <dgm:spPr>
        <a:ln>
          <a:noFill/>
        </a:ln>
      </dgm:spPr>
      <dgm:t>
        <a:bodyPr/>
        <a:lstStyle/>
        <a:p>
          <a:r>
            <a:rPr lang="en-US" dirty="0"/>
            <a:t>Refuses to pay</a:t>
          </a:r>
        </a:p>
      </dgm:t>
    </dgm:pt>
    <dgm:pt modelId="{7F8004A2-450C-4A4A-9926-A18C76CE34CE}" type="parTrans" cxnId="{124CED9F-88BD-4468-A1EA-0C862AA6BABF}">
      <dgm:prSet/>
      <dgm:spPr>
        <a:solidFill>
          <a:schemeClr val="bg1">
            <a:lumMod val="50000"/>
          </a:schemeClr>
        </a:solidFill>
        <a:ln w="9525"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0DFC3797-72FE-401D-B622-5EA1D425BAB7}" type="sibTrans" cxnId="{124CED9F-88BD-4468-A1EA-0C862AA6BABF}">
      <dgm:prSet/>
      <dgm:spPr/>
      <dgm:t>
        <a:bodyPr/>
        <a:lstStyle/>
        <a:p>
          <a:endParaRPr lang="en-US"/>
        </a:p>
      </dgm:t>
    </dgm:pt>
    <dgm:pt modelId="{1FBDD800-4937-403F-A545-81E5488E7CCD}">
      <dgm:prSet/>
      <dgm:spPr>
        <a:ln>
          <a:noFill/>
        </a:ln>
      </dgm:spPr>
      <dgm:t>
        <a:bodyPr/>
        <a:lstStyle/>
        <a:p>
          <a:r>
            <a:rPr lang="en-US" dirty="0"/>
            <a:t>No capacity to pay</a:t>
          </a:r>
        </a:p>
      </dgm:t>
    </dgm:pt>
    <dgm:pt modelId="{7AB7D3EF-B17D-4F17-8912-05066DCF0CD4}" type="parTrans" cxnId="{E5ED36B1-DD18-4777-ABDF-E0D30A637042}">
      <dgm:prSet/>
      <dgm:spPr>
        <a:solidFill>
          <a:schemeClr val="bg1">
            <a:lumMod val="50000"/>
          </a:schemeClr>
        </a:solidFill>
        <a:ln w="9525"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50733A5C-C053-4AB0-AA8E-03B130C6A1A8}" type="sibTrans" cxnId="{E5ED36B1-DD18-4777-ABDF-E0D30A637042}">
      <dgm:prSet/>
      <dgm:spPr/>
      <dgm:t>
        <a:bodyPr/>
        <a:lstStyle/>
        <a:p>
          <a:endParaRPr lang="en-US"/>
        </a:p>
      </dgm:t>
    </dgm:pt>
    <dgm:pt modelId="{37474556-AB54-4456-B1AD-273A13D74524}">
      <dgm:prSet/>
      <dgm:spPr>
        <a:ln>
          <a:noFill/>
        </a:ln>
      </dgm:spPr>
      <dgm:t>
        <a:bodyPr/>
        <a:lstStyle/>
        <a:p>
          <a:r>
            <a:rPr lang="en-US" dirty="0"/>
            <a:t>Unsuccessful contact</a:t>
          </a:r>
        </a:p>
      </dgm:t>
    </dgm:pt>
    <dgm:pt modelId="{A8D3D195-19C4-45EA-A385-673406607C26}" type="parTrans" cxnId="{9621115B-1EFF-49ED-83A2-C60AE712F800}">
      <dgm:prSet/>
      <dgm:spPr>
        <a:solidFill>
          <a:schemeClr val="bg1">
            <a:lumMod val="50000"/>
          </a:schemeClr>
        </a:solidFill>
        <a:ln w="9525"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AE639D39-DE5B-45A0-B5C8-04A66DDBFBA4}" type="sibTrans" cxnId="{9621115B-1EFF-49ED-83A2-C60AE712F800}">
      <dgm:prSet/>
      <dgm:spPr/>
      <dgm:t>
        <a:bodyPr/>
        <a:lstStyle/>
        <a:p>
          <a:endParaRPr lang="en-US"/>
        </a:p>
      </dgm:t>
    </dgm:pt>
    <dgm:pt modelId="{BEED30DE-1F10-4667-822F-7C038948E74B}">
      <dgm:prSet/>
      <dgm:spPr>
        <a:ln>
          <a:noFill/>
        </a:ln>
      </dgm:spPr>
      <dgm:t>
        <a:bodyPr/>
        <a:lstStyle/>
        <a:p>
          <a:r>
            <a:rPr lang="en-US" dirty="0"/>
            <a:t>Write account as charged-off</a:t>
          </a:r>
        </a:p>
      </dgm:t>
    </dgm:pt>
    <dgm:pt modelId="{B34E53EC-0179-4663-B609-61E7BF1828CB}" type="parTrans" cxnId="{42BE38CD-2A4E-4D6C-A92A-E4B79517519D}">
      <dgm:prSet/>
      <dgm:spPr>
        <a:solidFill>
          <a:schemeClr val="bg1">
            <a:lumMod val="50000"/>
          </a:schemeClr>
        </a:solidFill>
        <a:ln w="9525"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A82EEA9D-6CAC-4F8F-9FCD-A714AC5387A1}" type="sibTrans" cxnId="{42BE38CD-2A4E-4D6C-A92A-E4B79517519D}">
      <dgm:prSet/>
      <dgm:spPr/>
      <dgm:t>
        <a:bodyPr/>
        <a:lstStyle/>
        <a:p>
          <a:endParaRPr lang="en-US"/>
        </a:p>
      </dgm:t>
    </dgm:pt>
    <dgm:pt modelId="{E68B9DF8-83E3-4DE2-BC01-1F26624744ED}">
      <dgm:prSet/>
      <dgm:spPr/>
      <dgm:t>
        <a:bodyPr/>
        <a:lstStyle/>
        <a:p>
          <a:r>
            <a:rPr lang="en-US" dirty="0"/>
            <a:t>Securing payment commitments</a:t>
          </a:r>
        </a:p>
      </dgm:t>
    </dgm:pt>
    <dgm:pt modelId="{D7C6A219-664B-40D7-A8FA-44904416B4B5}" type="parTrans" cxnId="{ACB287C0-0DFC-43EE-AAC4-6C6221774DBB}">
      <dgm:prSet/>
      <dgm:spPr/>
      <dgm:t>
        <a:bodyPr/>
        <a:lstStyle/>
        <a:p>
          <a:endParaRPr lang="en-US"/>
        </a:p>
      </dgm:t>
    </dgm:pt>
    <dgm:pt modelId="{1594FCAE-8BE5-45FC-BA18-1D47473F33FE}" type="sibTrans" cxnId="{ACB287C0-0DFC-43EE-AAC4-6C6221774DBB}">
      <dgm:prSet/>
      <dgm:spPr/>
      <dgm:t>
        <a:bodyPr/>
        <a:lstStyle/>
        <a:p>
          <a:endParaRPr lang="en-US"/>
        </a:p>
      </dgm:t>
    </dgm:pt>
    <dgm:pt modelId="{7DECEF82-9D5D-4DEE-B557-925F282145D0}">
      <dgm:prSet/>
      <dgm:spPr/>
      <dgm:t>
        <a:bodyPr/>
        <a:lstStyle/>
        <a:p>
          <a:r>
            <a:rPr lang="en-US" dirty="0"/>
            <a:t>Meets commitment</a:t>
          </a:r>
        </a:p>
      </dgm:t>
    </dgm:pt>
    <dgm:pt modelId="{F6F1A37B-DEDC-40A4-B03E-FE258C6CCEEE}" type="parTrans" cxnId="{2AEE4758-894D-4B41-940F-054E7D1875D5}">
      <dgm:prSet/>
      <dgm:spPr/>
      <dgm:t>
        <a:bodyPr/>
        <a:lstStyle/>
        <a:p>
          <a:endParaRPr lang="en-US"/>
        </a:p>
      </dgm:t>
    </dgm:pt>
    <dgm:pt modelId="{3B27B5F5-EDD2-4E6B-9BB9-6FF9C1BE7A0A}" type="sibTrans" cxnId="{2AEE4758-894D-4B41-940F-054E7D1875D5}">
      <dgm:prSet/>
      <dgm:spPr/>
      <dgm:t>
        <a:bodyPr/>
        <a:lstStyle/>
        <a:p>
          <a:endParaRPr lang="en-US"/>
        </a:p>
      </dgm:t>
    </dgm:pt>
    <dgm:pt modelId="{1AB55BF3-597D-44A4-8C96-4EEA98EB1161}">
      <dgm:prSet/>
      <dgm:spPr/>
      <dgm:t>
        <a:bodyPr/>
        <a:lstStyle/>
        <a:p>
          <a:r>
            <a:rPr lang="en-US" dirty="0"/>
            <a:t>Doesn't meet commitment</a:t>
          </a:r>
        </a:p>
      </dgm:t>
    </dgm:pt>
    <dgm:pt modelId="{88C168F1-0DC2-4F86-8EE4-3FD2958ADD8D}" type="parTrans" cxnId="{48A1A905-03AA-4031-8AD2-96F5B7392530}">
      <dgm:prSet/>
      <dgm:spPr/>
      <dgm:t>
        <a:bodyPr/>
        <a:lstStyle/>
        <a:p>
          <a:endParaRPr lang="en-US"/>
        </a:p>
      </dgm:t>
    </dgm:pt>
    <dgm:pt modelId="{704D3746-0D9B-4B26-BD8B-901CF181F5E4}" type="sibTrans" cxnId="{48A1A905-03AA-4031-8AD2-96F5B7392530}">
      <dgm:prSet/>
      <dgm:spPr/>
      <dgm:t>
        <a:bodyPr/>
        <a:lstStyle/>
        <a:p>
          <a:endParaRPr lang="en-US"/>
        </a:p>
      </dgm:t>
    </dgm:pt>
    <dgm:pt modelId="{02DB549D-812F-4281-892F-BC9026E93E1C}">
      <dgm:prSet/>
      <dgm:spPr/>
      <dgm:t>
        <a:bodyPr/>
        <a:lstStyle/>
        <a:p>
          <a:r>
            <a:rPr lang="en-US" dirty="0"/>
            <a:t>No willingness to pay</a:t>
          </a:r>
        </a:p>
      </dgm:t>
    </dgm:pt>
    <dgm:pt modelId="{173CBADA-C59D-4EC1-A627-F5EEA249DE6A}" type="parTrans" cxnId="{C9879D9D-DD16-4C36-A159-3AF34D2029AF}">
      <dgm:prSet/>
      <dgm:spPr/>
      <dgm:t>
        <a:bodyPr/>
        <a:lstStyle/>
        <a:p>
          <a:endParaRPr lang="en-US"/>
        </a:p>
      </dgm:t>
    </dgm:pt>
    <dgm:pt modelId="{E7710D6E-87E2-4377-8F8E-5BD97E25C144}" type="sibTrans" cxnId="{C9879D9D-DD16-4C36-A159-3AF34D2029AF}">
      <dgm:prSet/>
      <dgm:spPr/>
      <dgm:t>
        <a:bodyPr/>
        <a:lstStyle/>
        <a:p>
          <a:endParaRPr lang="en-US"/>
        </a:p>
      </dgm:t>
    </dgm:pt>
    <dgm:pt modelId="{ADFBF3B1-23EB-41AF-9835-ECF33C73CCB2}">
      <dgm:prSet/>
      <dgm:spPr/>
      <dgm:t>
        <a:bodyPr/>
        <a:lstStyle/>
        <a:p>
          <a:r>
            <a:rPr lang="en-US" dirty="0"/>
            <a:t>Take legal actions</a:t>
          </a:r>
        </a:p>
      </dgm:t>
    </dgm:pt>
    <dgm:pt modelId="{B2771E8F-799E-4606-B916-0AF290958183}" type="parTrans" cxnId="{F90A154D-1303-4D7B-9700-D9D893A41978}">
      <dgm:prSet/>
      <dgm:spPr/>
      <dgm:t>
        <a:bodyPr/>
        <a:lstStyle/>
        <a:p>
          <a:endParaRPr lang="en-US"/>
        </a:p>
      </dgm:t>
    </dgm:pt>
    <dgm:pt modelId="{03E4EAD8-E8E0-46BF-91A1-E19BD92EF8BA}" type="sibTrans" cxnId="{F90A154D-1303-4D7B-9700-D9D893A41978}">
      <dgm:prSet/>
      <dgm:spPr/>
      <dgm:t>
        <a:bodyPr/>
        <a:lstStyle/>
        <a:p>
          <a:endParaRPr lang="en-US"/>
        </a:p>
      </dgm:t>
    </dgm:pt>
    <dgm:pt modelId="{969A504F-7F0C-4762-8119-11358DF5C44D}">
      <dgm:prSet/>
      <dgm:spPr/>
      <dgm:t>
        <a:bodyPr/>
        <a:lstStyle/>
        <a:p>
          <a:r>
            <a:rPr lang="en-US" dirty="0"/>
            <a:t>Take legal Action</a:t>
          </a:r>
        </a:p>
      </dgm:t>
    </dgm:pt>
    <dgm:pt modelId="{A463D3AF-A513-45C8-8246-FF767AD79DC7}" type="parTrans" cxnId="{DE3069B9-B790-4646-8C73-D17E91D64E67}">
      <dgm:prSet/>
      <dgm:spPr/>
      <dgm:t>
        <a:bodyPr/>
        <a:lstStyle/>
        <a:p>
          <a:endParaRPr lang="en-US"/>
        </a:p>
      </dgm:t>
    </dgm:pt>
    <dgm:pt modelId="{CFB3DF3A-40B6-46BA-8299-F0653600FC53}" type="sibTrans" cxnId="{DE3069B9-B790-4646-8C73-D17E91D64E67}">
      <dgm:prSet/>
      <dgm:spPr/>
      <dgm:t>
        <a:bodyPr/>
        <a:lstStyle/>
        <a:p>
          <a:endParaRPr lang="en-US"/>
        </a:p>
      </dgm:t>
    </dgm:pt>
    <dgm:pt modelId="{E83DCC04-9536-4EDD-A3C3-80DCA18ED9D7}">
      <dgm:prSet/>
      <dgm:spPr/>
      <dgm:t>
        <a:bodyPr/>
        <a:lstStyle/>
        <a:p>
          <a:r>
            <a:rPr lang="en-US" dirty="0"/>
            <a:t>Negotiate to change loan conditions (restructuring, refinancing, </a:t>
          </a:r>
          <a:r>
            <a:rPr lang="en-US" dirty="0" err="1"/>
            <a:t>etc</a:t>
          </a:r>
          <a:r>
            <a:rPr lang="en-US" dirty="0"/>
            <a:t>)</a:t>
          </a:r>
        </a:p>
      </dgm:t>
    </dgm:pt>
    <dgm:pt modelId="{62973E81-85B7-4D58-9D87-C3B761D72CF3}" type="parTrans" cxnId="{238B0679-FD4C-48AA-B180-2846028DCCE3}">
      <dgm:prSet/>
      <dgm:spPr/>
      <dgm:t>
        <a:bodyPr/>
        <a:lstStyle/>
        <a:p>
          <a:endParaRPr lang="en-US"/>
        </a:p>
      </dgm:t>
    </dgm:pt>
    <dgm:pt modelId="{F171F784-25FF-418C-8E30-1BE0C075220C}" type="sibTrans" cxnId="{238B0679-FD4C-48AA-B180-2846028DCCE3}">
      <dgm:prSet/>
      <dgm:spPr/>
      <dgm:t>
        <a:bodyPr/>
        <a:lstStyle/>
        <a:p>
          <a:endParaRPr lang="en-US"/>
        </a:p>
      </dgm:t>
    </dgm:pt>
    <dgm:pt modelId="{3CDE789E-F19A-444E-B3FE-DEE9881ED12D}" type="pres">
      <dgm:prSet presAssocID="{E576DD4A-FC0C-45E0-ABEF-C070A8939E8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1EF56DBB-4612-4786-B023-F07631519071}" type="pres">
      <dgm:prSet presAssocID="{EE12B231-A0A6-4768-A934-ACEAB8CAB8DF}" presName="hierRoot1" presStyleCnt="0">
        <dgm:presLayoutVars>
          <dgm:hierBranch val="init"/>
        </dgm:presLayoutVars>
      </dgm:prSet>
      <dgm:spPr/>
    </dgm:pt>
    <dgm:pt modelId="{D4C90B7A-F3AD-4201-A454-0EC06CD58EB9}" type="pres">
      <dgm:prSet presAssocID="{EE12B231-A0A6-4768-A934-ACEAB8CAB8DF}" presName="rootComposite1" presStyleCnt="0"/>
      <dgm:spPr/>
    </dgm:pt>
    <dgm:pt modelId="{85ADD5EE-9DA7-4C3E-BD67-333601972390}" type="pres">
      <dgm:prSet presAssocID="{EE12B231-A0A6-4768-A934-ACEAB8CAB8DF}" presName="rootText1" presStyleLbl="node0" presStyleIdx="0" presStyleCnt="1" custLinFactNeighborX="4910">
        <dgm:presLayoutVars>
          <dgm:chPref val="3"/>
        </dgm:presLayoutVars>
      </dgm:prSet>
      <dgm:spPr/>
    </dgm:pt>
    <dgm:pt modelId="{6BB17A36-54BA-45E3-A60F-CFE41FA3F977}" type="pres">
      <dgm:prSet presAssocID="{EE12B231-A0A6-4768-A934-ACEAB8CAB8DF}" presName="rootConnector1" presStyleLbl="node1" presStyleIdx="0" presStyleCnt="0"/>
      <dgm:spPr/>
    </dgm:pt>
    <dgm:pt modelId="{C9F0B250-2BBD-4634-856B-6340B7AB6691}" type="pres">
      <dgm:prSet presAssocID="{EE12B231-A0A6-4768-A934-ACEAB8CAB8DF}" presName="hierChild2" presStyleCnt="0"/>
      <dgm:spPr/>
    </dgm:pt>
    <dgm:pt modelId="{7C679D1E-2B68-4679-AFF5-8CFF8F58EC48}" type="pres">
      <dgm:prSet presAssocID="{460B0128-F893-4428-AF46-15A8C0E6517E}" presName="Name64" presStyleLbl="parChTrans1D2" presStyleIdx="0" presStyleCnt="1"/>
      <dgm:spPr/>
    </dgm:pt>
    <dgm:pt modelId="{2F2082D1-EB54-427B-B12A-1726C1325D67}" type="pres">
      <dgm:prSet presAssocID="{ABCB5463-77B5-4836-9F99-0B5FE36DDA58}" presName="hierRoot2" presStyleCnt="0">
        <dgm:presLayoutVars>
          <dgm:hierBranch val="init"/>
        </dgm:presLayoutVars>
      </dgm:prSet>
      <dgm:spPr/>
    </dgm:pt>
    <dgm:pt modelId="{B10B379E-B254-43C5-A85A-9FADB8ACAA2B}" type="pres">
      <dgm:prSet presAssocID="{ABCB5463-77B5-4836-9F99-0B5FE36DDA58}" presName="rootComposite" presStyleCnt="0"/>
      <dgm:spPr/>
    </dgm:pt>
    <dgm:pt modelId="{D5D716B0-B39E-4ED5-8524-6972392F8166}" type="pres">
      <dgm:prSet presAssocID="{ABCB5463-77B5-4836-9F99-0B5FE36DDA58}" presName="rootText" presStyleLbl="node2" presStyleIdx="0" presStyleCnt="1" custLinFactNeighborX="4419">
        <dgm:presLayoutVars>
          <dgm:chPref val="3"/>
        </dgm:presLayoutVars>
      </dgm:prSet>
      <dgm:spPr/>
    </dgm:pt>
    <dgm:pt modelId="{B657289A-DAA8-4754-99E5-270425B7F02E}" type="pres">
      <dgm:prSet presAssocID="{ABCB5463-77B5-4836-9F99-0B5FE36DDA58}" presName="rootConnector" presStyleLbl="node2" presStyleIdx="0" presStyleCnt="1"/>
      <dgm:spPr/>
    </dgm:pt>
    <dgm:pt modelId="{7F6ABA9F-D4F4-4F73-956C-73030C6FB139}" type="pres">
      <dgm:prSet presAssocID="{ABCB5463-77B5-4836-9F99-0B5FE36DDA58}" presName="hierChild4" presStyleCnt="0"/>
      <dgm:spPr/>
    </dgm:pt>
    <dgm:pt modelId="{D354B297-BE95-44C0-8F39-042F9B8EAE79}" type="pres">
      <dgm:prSet presAssocID="{515EDAC8-DB2A-4300-BE93-8459720B5BF7}" presName="Name64" presStyleLbl="parChTrans1D3" presStyleIdx="0" presStyleCnt="2"/>
      <dgm:spPr/>
    </dgm:pt>
    <dgm:pt modelId="{3728040D-DA12-4E52-BA94-D027E58DE5D8}" type="pres">
      <dgm:prSet presAssocID="{174031BD-2FE9-4F79-9579-F4F6410D72D7}" presName="hierRoot2" presStyleCnt="0">
        <dgm:presLayoutVars>
          <dgm:hierBranch val="init"/>
        </dgm:presLayoutVars>
      </dgm:prSet>
      <dgm:spPr/>
    </dgm:pt>
    <dgm:pt modelId="{661E46D5-8476-4374-81CD-A6FC417E22D4}" type="pres">
      <dgm:prSet presAssocID="{174031BD-2FE9-4F79-9579-F4F6410D72D7}" presName="rootComposite" presStyleCnt="0"/>
      <dgm:spPr/>
    </dgm:pt>
    <dgm:pt modelId="{47E11ADC-E706-4D3F-B0D2-44AA822F24EF}" type="pres">
      <dgm:prSet presAssocID="{174031BD-2FE9-4F79-9579-F4F6410D72D7}" presName="rootText" presStyleLbl="node3" presStyleIdx="0" presStyleCnt="2" custLinFactNeighborY="-71204">
        <dgm:presLayoutVars>
          <dgm:chPref val="3"/>
        </dgm:presLayoutVars>
      </dgm:prSet>
      <dgm:spPr/>
    </dgm:pt>
    <dgm:pt modelId="{5437414E-F2EF-4DD0-9E67-C5FDA0B706E0}" type="pres">
      <dgm:prSet presAssocID="{174031BD-2FE9-4F79-9579-F4F6410D72D7}" presName="rootConnector" presStyleLbl="node3" presStyleIdx="0" presStyleCnt="2"/>
      <dgm:spPr/>
    </dgm:pt>
    <dgm:pt modelId="{C794F324-BC9F-44A3-8B6C-06B526397C4E}" type="pres">
      <dgm:prSet presAssocID="{174031BD-2FE9-4F79-9579-F4F6410D72D7}" presName="hierChild4" presStyleCnt="0"/>
      <dgm:spPr/>
    </dgm:pt>
    <dgm:pt modelId="{2A5AA3D5-4A11-4ABF-A5E9-514B554C24FF}" type="pres">
      <dgm:prSet presAssocID="{8F170C17-3D39-4AC4-9D0D-0ADD96592BD1}" presName="Name64" presStyleLbl="parChTrans1D4" presStyleIdx="0" presStyleCnt="11"/>
      <dgm:spPr/>
    </dgm:pt>
    <dgm:pt modelId="{623E28CC-D62A-487D-A504-DFA9A33AAE4B}" type="pres">
      <dgm:prSet presAssocID="{F1A9027F-EF3C-493D-8137-8335F4B1BF3C}" presName="hierRoot2" presStyleCnt="0">
        <dgm:presLayoutVars>
          <dgm:hierBranch val="init"/>
        </dgm:presLayoutVars>
      </dgm:prSet>
      <dgm:spPr/>
    </dgm:pt>
    <dgm:pt modelId="{F4178123-6ADC-46EF-98E9-ACB62EC8F6AB}" type="pres">
      <dgm:prSet presAssocID="{F1A9027F-EF3C-493D-8137-8335F4B1BF3C}" presName="rootComposite" presStyleCnt="0"/>
      <dgm:spPr/>
    </dgm:pt>
    <dgm:pt modelId="{BDB260E4-98AC-4C17-BD72-92F9BBB225FB}" type="pres">
      <dgm:prSet presAssocID="{F1A9027F-EF3C-493D-8137-8335F4B1BF3C}" presName="rootText" presStyleLbl="node4" presStyleIdx="0" presStyleCnt="11" custLinFactNeighborY="-83919">
        <dgm:presLayoutVars>
          <dgm:chPref val="3"/>
        </dgm:presLayoutVars>
      </dgm:prSet>
      <dgm:spPr/>
    </dgm:pt>
    <dgm:pt modelId="{1118774A-202D-4DE0-817A-F6D7423155BC}" type="pres">
      <dgm:prSet presAssocID="{F1A9027F-EF3C-493D-8137-8335F4B1BF3C}" presName="rootConnector" presStyleLbl="node4" presStyleIdx="0" presStyleCnt="11"/>
      <dgm:spPr/>
    </dgm:pt>
    <dgm:pt modelId="{91F94D8D-7523-4EB4-8E42-1BB30BA29858}" type="pres">
      <dgm:prSet presAssocID="{F1A9027F-EF3C-493D-8137-8335F4B1BF3C}" presName="hierChild4" presStyleCnt="0"/>
      <dgm:spPr/>
    </dgm:pt>
    <dgm:pt modelId="{90FDBFDB-05F8-42E8-8C62-F2E3B16ABF8E}" type="pres">
      <dgm:prSet presAssocID="{F1A9027F-EF3C-493D-8137-8335F4B1BF3C}" presName="hierChild5" presStyleCnt="0"/>
      <dgm:spPr/>
    </dgm:pt>
    <dgm:pt modelId="{48BDA912-8A03-45A5-A4F6-E3450579011F}" type="pres">
      <dgm:prSet presAssocID="{D7C6A219-664B-40D7-A8FA-44904416B4B5}" presName="Name64" presStyleLbl="parChTrans1D4" presStyleIdx="1" presStyleCnt="11"/>
      <dgm:spPr/>
    </dgm:pt>
    <dgm:pt modelId="{1F251011-0625-497D-A13E-A16E05765C9B}" type="pres">
      <dgm:prSet presAssocID="{E68B9DF8-83E3-4DE2-BC01-1F26624744ED}" presName="hierRoot2" presStyleCnt="0">
        <dgm:presLayoutVars>
          <dgm:hierBranch val="init"/>
        </dgm:presLayoutVars>
      </dgm:prSet>
      <dgm:spPr/>
    </dgm:pt>
    <dgm:pt modelId="{DF8C73AD-83AD-438B-A1AA-73068ABE6BB3}" type="pres">
      <dgm:prSet presAssocID="{E68B9DF8-83E3-4DE2-BC01-1F26624744ED}" presName="rootComposite" presStyleCnt="0"/>
      <dgm:spPr/>
    </dgm:pt>
    <dgm:pt modelId="{F468E544-FE87-4644-AA8C-CDABA2B8B51B}" type="pres">
      <dgm:prSet presAssocID="{E68B9DF8-83E3-4DE2-BC01-1F26624744ED}" presName="rootText" presStyleLbl="node4" presStyleIdx="1" presStyleCnt="11">
        <dgm:presLayoutVars>
          <dgm:chPref val="3"/>
        </dgm:presLayoutVars>
      </dgm:prSet>
      <dgm:spPr/>
    </dgm:pt>
    <dgm:pt modelId="{87297E2B-20D2-40AF-A1AB-878094C995B7}" type="pres">
      <dgm:prSet presAssocID="{E68B9DF8-83E3-4DE2-BC01-1F26624744ED}" presName="rootConnector" presStyleLbl="node4" presStyleIdx="1" presStyleCnt="11"/>
      <dgm:spPr/>
    </dgm:pt>
    <dgm:pt modelId="{5ED14D3D-FF75-409D-BE98-7DD89785FE85}" type="pres">
      <dgm:prSet presAssocID="{E68B9DF8-83E3-4DE2-BC01-1F26624744ED}" presName="hierChild4" presStyleCnt="0"/>
      <dgm:spPr/>
    </dgm:pt>
    <dgm:pt modelId="{32EF92E6-EBAB-407D-86BA-AD99CABA8620}" type="pres">
      <dgm:prSet presAssocID="{F6F1A37B-DEDC-40A4-B03E-FE258C6CCEEE}" presName="Name64" presStyleLbl="parChTrans1D4" presStyleIdx="2" presStyleCnt="11"/>
      <dgm:spPr/>
    </dgm:pt>
    <dgm:pt modelId="{FCDC7211-5F37-47F9-8A95-5EB62EC06F90}" type="pres">
      <dgm:prSet presAssocID="{7DECEF82-9D5D-4DEE-B557-925F282145D0}" presName="hierRoot2" presStyleCnt="0">
        <dgm:presLayoutVars>
          <dgm:hierBranch val="init"/>
        </dgm:presLayoutVars>
      </dgm:prSet>
      <dgm:spPr/>
    </dgm:pt>
    <dgm:pt modelId="{351BEF9A-200F-4163-A266-368CA59DB7F5}" type="pres">
      <dgm:prSet presAssocID="{7DECEF82-9D5D-4DEE-B557-925F282145D0}" presName="rootComposite" presStyleCnt="0"/>
      <dgm:spPr/>
    </dgm:pt>
    <dgm:pt modelId="{AB9DEF27-D489-4030-858D-C42AB4B0B273}" type="pres">
      <dgm:prSet presAssocID="{7DECEF82-9D5D-4DEE-B557-925F282145D0}" presName="rootText" presStyleLbl="node4" presStyleIdx="2" presStyleCnt="11">
        <dgm:presLayoutVars>
          <dgm:chPref val="3"/>
        </dgm:presLayoutVars>
      </dgm:prSet>
      <dgm:spPr/>
    </dgm:pt>
    <dgm:pt modelId="{3051B5EA-A67A-427B-899E-377840FE81B7}" type="pres">
      <dgm:prSet presAssocID="{7DECEF82-9D5D-4DEE-B557-925F282145D0}" presName="rootConnector" presStyleLbl="node4" presStyleIdx="2" presStyleCnt="11"/>
      <dgm:spPr/>
    </dgm:pt>
    <dgm:pt modelId="{D06D9814-5140-44B9-8513-0BF2CE794E3E}" type="pres">
      <dgm:prSet presAssocID="{7DECEF82-9D5D-4DEE-B557-925F282145D0}" presName="hierChild4" presStyleCnt="0"/>
      <dgm:spPr/>
    </dgm:pt>
    <dgm:pt modelId="{86AB102E-2BBD-4CB2-A279-883F53723B8B}" type="pres">
      <dgm:prSet presAssocID="{7DECEF82-9D5D-4DEE-B557-925F282145D0}" presName="hierChild5" presStyleCnt="0"/>
      <dgm:spPr/>
    </dgm:pt>
    <dgm:pt modelId="{567B1DF1-EB7D-46EA-B1E6-28B1FC4E11BC}" type="pres">
      <dgm:prSet presAssocID="{88C168F1-0DC2-4F86-8EE4-3FD2958ADD8D}" presName="Name64" presStyleLbl="parChTrans1D4" presStyleIdx="3" presStyleCnt="11"/>
      <dgm:spPr/>
    </dgm:pt>
    <dgm:pt modelId="{5E43E4D3-7A3E-4475-8AD3-3DEF3B2AE117}" type="pres">
      <dgm:prSet presAssocID="{1AB55BF3-597D-44A4-8C96-4EEA98EB1161}" presName="hierRoot2" presStyleCnt="0">
        <dgm:presLayoutVars>
          <dgm:hierBranch val="init"/>
        </dgm:presLayoutVars>
      </dgm:prSet>
      <dgm:spPr/>
    </dgm:pt>
    <dgm:pt modelId="{7F40D0F6-13A2-4712-B3C7-B47C889D0E0F}" type="pres">
      <dgm:prSet presAssocID="{1AB55BF3-597D-44A4-8C96-4EEA98EB1161}" presName="rootComposite" presStyleCnt="0"/>
      <dgm:spPr/>
    </dgm:pt>
    <dgm:pt modelId="{F33BCE08-E31B-45A0-B412-221DC4ED012C}" type="pres">
      <dgm:prSet presAssocID="{1AB55BF3-597D-44A4-8C96-4EEA98EB1161}" presName="rootText" presStyleLbl="node4" presStyleIdx="3" presStyleCnt="11">
        <dgm:presLayoutVars>
          <dgm:chPref val="3"/>
        </dgm:presLayoutVars>
      </dgm:prSet>
      <dgm:spPr/>
    </dgm:pt>
    <dgm:pt modelId="{2BF37815-788C-40CC-8F70-9CEEEF704DB0}" type="pres">
      <dgm:prSet presAssocID="{1AB55BF3-597D-44A4-8C96-4EEA98EB1161}" presName="rootConnector" presStyleLbl="node4" presStyleIdx="3" presStyleCnt="11"/>
      <dgm:spPr/>
    </dgm:pt>
    <dgm:pt modelId="{FD3EF8A9-E1C7-4B4E-A32D-D72E9B624C18}" type="pres">
      <dgm:prSet presAssocID="{1AB55BF3-597D-44A4-8C96-4EEA98EB1161}" presName="hierChild4" presStyleCnt="0"/>
      <dgm:spPr/>
    </dgm:pt>
    <dgm:pt modelId="{63E092C8-580B-4E38-96DA-CA30B329F0D1}" type="pres">
      <dgm:prSet presAssocID="{A463D3AF-A513-45C8-8246-FF767AD79DC7}" presName="Name64" presStyleLbl="parChTrans1D4" presStyleIdx="4" presStyleCnt="11"/>
      <dgm:spPr/>
    </dgm:pt>
    <dgm:pt modelId="{BB64F92F-9400-409D-A0F1-7EBA257B3B2C}" type="pres">
      <dgm:prSet presAssocID="{969A504F-7F0C-4762-8119-11358DF5C44D}" presName="hierRoot2" presStyleCnt="0">
        <dgm:presLayoutVars>
          <dgm:hierBranch val="init"/>
        </dgm:presLayoutVars>
      </dgm:prSet>
      <dgm:spPr/>
    </dgm:pt>
    <dgm:pt modelId="{77B175EB-DD6D-4DEF-9DAD-5834264F3F6D}" type="pres">
      <dgm:prSet presAssocID="{969A504F-7F0C-4762-8119-11358DF5C44D}" presName="rootComposite" presStyleCnt="0"/>
      <dgm:spPr/>
    </dgm:pt>
    <dgm:pt modelId="{BB77D20E-A7CC-4CD0-BD5B-621D09A560B5}" type="pres">
      <dgm:prSet presAssocID="{969A504F-7F0C-4762-8119-11358DF5C44D}" presName="rootText" presStyleLbl="node4" presStyleIdx="4" presStyleCnt="11">
        <dgm:presLayoutVars>
          <dgm:chPref val="3"/>
        </dgm:presLayoutVars>
      </dgm:prSet>
      <dgm:spPr/>
    </dgm:pt>
    <dgm:pt modelId="{80F658EB-DE71-418C-8438-EE3FD4716551}" type="pres">
      <dgm:prSet presAssocID="{969A504F-7F0C-4762-8119-11358DF5C44D}" presName="rootConnector" presStyleLbl="node4" presStyleIdx="4" presStyleCnt="11"/>
      <dgm:spPr/>
    </dgm:pt>
    <dgm:pt modelId="{F3D75264-BCD9-455F-84B9-41CDC0C28ADF}" type="pres">
      <dgm:prSet presAssocID="{969A504F-7F0C-4762-8119-11358DF5C44D}" presName="hierChild4" presStyleCnt="0"/>
      <dgm:spPr/>
    </dgm:pt>
    <dgm:pt modelId="{943863F7-CBD5-42E6-8E43-122C83B9C616}" type="pres">
      <dgm:prSet presAssocID="{969A504F-7F0C-4762-8119-11358DF5C44D}" presName="hierChild5" presStyleCnt="0"/>
      <dgm:spPr/>
    </dgm:pt>
    <dgm:pt modelId="{0A97484E-79C0-40C6-8ED6-17DE7282D3B7}" type="pres">
      <dgm:prSet presAssocID="{1AB55BF3-597D-44A4-8C96-4EEA98EB1161}" presName="hierChild5" presStyleCnt="0"/>
      <dgm:spPr/>
    </dgm:pt>
    <dgm:pt modelId="{ED0A1E05-9877-4064-9329-8EFB97C692FE}" type="pres">
      <dgm:prSet presAssocID="{E68B9DF8-83E3-4DE2-BC01-1F26624744ED}" presName="hierChild5" presStyleCnt="0"/>
      <dgm:spPr/>
    </dgm:pt>
    <dgm:pt modelId="{D1B246E6-ECC1-4148-8452-67092DD9C46F}" type="pres">
      <dgm:prSet presAssocID="{7F8004A2-450C-4A4A-9926-A18C76CE34CE}" presName="Name64" presStyleLbl="parChTrans1D4" presStyleIdx="5" presStyleCnt="11"/>
      <dgm:spPr/>
    </dgm:pt>
    <dgm:pt modelId="{4E6B7BFD-80EE-4BC3-AA38-EE282194684E}" type="pres">
      <dgm:prSet presAssocID="{C2286186-FB7E-495D-A04D-69C363E69E80}" presName="hierRoot2" presStyleCnt="0">
        <dgm:presLayoutVars>
          <dgm:hierBranch val="init"/>
        </dgm:presLayoutVars>
      </dgm:prSet>
      <dgm:spPr/>
    </dgm:pt>
    <dgm:pt modelId="{618F3FE4-0942-42FE-A207-4FB025F23FDB}" type="pres">
      <dgm:prSet presAssocID="{C2286186-FB7E-495D-A04D-69C363E69E80}" presName="rootComposite" presStyleCnt="0"/>
      <dgm:spPr/>
    </dgm:pt>
    <dgm:pt modelId="{5536F0E7-B51C-40C3-8EF2-AB20D68D40C7}" type="pres">
      <dgm:prSet presAssocID="{C2286186-FB7E-495D-A04D-69C363E69E80}" presName="rootText" presStyleLbl="node4" presStyleIdx="5" presStyleCnt="11">
        <dgm:presLayoutVars>
          <dgm:chPref val="3"/>
        </dgm:presLayoutVars>
      </dgm:prSet>
      <dgm:spPr/>
    </dgm:pt>
    <dgm:pt modelId="{FBA0A664-6794-4B7D-8CCE-A31FC19C361F}" type="pres">
      <dgm:prSet presAssocID="{C2286186-FB7E-495D-A04D-69C363E69E80}" presName="rootConnector" presStyleLbl="node4" presStyleIdx="5" presStyleCnt="11"/>
      <dgm:spPr/>
    </dgm:pt>
    <dgm:pt modelId="{C5D00443-6337-4CE8-9787-7FB7DF33BAAF}" type="pres">
      <dgm:prSet presAssocID="{C2286186-FB7E-495D-A04D-69C363E69E80}" presName="hierChild4" presStyleCnt="0"/>
      <dgm:spPr/>
    </dgm:pt>
    <dgm:pt modelId="{D31E85F0-D910-408B-91A0-5C7BAA37EF04}" type="pres">
      <dgm:prSet presAssocID="{7AB7D3EF-B17D-4F17-8912-05066DCF0CD4}" presName="Name64" presStyleLbl="parChTrans1D4" presStyleIdx="6" presStyleCnt="11"/>
      <dgm:spPr/>
    </dgm:pt>
    <dgm:pt modelId="{0362252F-DADE-4AA0-8DDD-1BEB03DD212B}" type="pres">
      <dgm:prSet presAssocID="{1FBDD800-4937-403F-A545-81E5488E7CCD}" presName="hierRoot2" presStyleCnt="0">
        <dgm:presLayoutVars>
          <dgm:hierBranch val="init"/>
        </dgm:presLayoutVars>
      </dgm:prSet>
      <dgm:spPr/>
    </dgm:pt>
    <dgm:pt modelId="{25D61995-8F9D-4DFD-A867-3D8772A71826}" type="pres">
      <dgm:prSet presAssocID="{1FBDD800-4937-403F-A545-81E5488E7CCD}" presName="rootComposite" presStyleCnt="0"/>
      <dgm:spPr/>
    </dgm:pt>
    <dgm:pt modelId="{57AF1DF6-8E7E-4227-A7C1-CA6068846794}" type="pres">
      <dgm:prSet presAssocID="{1FBDD800-4937-403F-A545-81E5488E7CCD}" presName="rootText" presStyleLbl="node4" presStyleIdx="6" presStyleCnt="11">
        <dgm:presLayoutVars>
          <dgm:chPref val="3"/>
        </dgm:presLayoutVars>
      </dgm:prSet>
      <dgm:spPr/>
    </dgm:pt>
    <dgm:pt modelId="{E931450B-AF9A-4794-A864-CAD41FF908ED}" type="pres">
      <dgm:prSet presAssocID="{1FBDD800-4937-403F-A545-81E5488E7CCD}" presName="rootConnector" presStyleLbl="node4" presStyleIdx="6" presStyleCnt="11"/>
      <dgm:spPr/>
    </dgm:pt>
    <dgm:pt modelId="{B845A4B4-CAE2-4EDC-BE41-C140AC09EAFB}" type="pres">
      <dgm:prSet presAssocID="{1FBDD800-4937-403F-A545-81E5488E7CCD}" presName="hierChild4" presStyleCnt="0"/>
      <dgm:spPr/>
    </dgm:pt>
    <dgm:pt modelId="{4225ABD1-9CAE-4345-ADF6-4C405D172C9B}" type="pres">
      <dgm:prSet presAssocID="{62973E81-85B7-4D58-9D87-C3B761D72CF3}" presName="Name64" presStyleLbl="parChTrans1D4" presStyleIdx="7" presStyleCnt="11"/>
      <dgm:spPr/>
    </dgm:pt>
    <dgm:pt modelId="{3B699ED2-347B-47F6-928E-10317A4E5364}" type="pres">
      <dgm:prSet presAssocID="{E83DCC04-9536-4EDD-A3C3-80DCA18ED9D7}" presName="hierRoot2" presStyleCnt="0">
        <dgm:presLayoutVars>
          <dgm:hierBranch val="init"/>
        </dgm:presLayoutVars>
      </dgm:prSet>
      <dgm:spPr/>
    </dgm:pt>
    <dgm:pt modelId="{C9EC1390-65FE-4BDF-8978-30EAB73A072D}" type="pres">
      <dgm:prSet presAssocID="{E83DCC04-9536-4EDD-A3C3-80DCA18ED9D7}" presName="rootComposite" presStyleCnt="0"/>
      <dgm:spPr/>
    </dgm:pt>
    <dgm:pt modelId="{67B70FCA-CD84-4379-B99E-EBF6EF85E9EC}" type="pres">
      <dgm:prSet presAssocID="{E83DCC04-9536-4EDD-A3C3-80DCA18ED9D7}" presName="rootText" presStyleLbl="node4" presStyleIdx="7" presStyleCnt="11">
        <dgm:presLayoutVars>
          <dgm:chPref val="3"/>
        </dgm:presLayoutVars>
      </dgm:prSet>
      <dgm:spPr/>
    </dgm:pt>
    <dgm:pt modelId="{F0D8E0F4-ACAD-4919-9D94-FFFF41421820}" type="pres">
      <dgm:prSet presAssocID="{E83DCC04-9536-4EDD-A3C3-80DCA18ED9D7}" presName="rootConnector" presStyleLbl="node4" presStyleIdx="7" presStyleCnt="11"/>
      <dgm:spPr/>
    </dgm:pt>
    <dgm:pt modelId="{E981F7DF-9D23-4520-814E-4728FCB946A3}" type="pres">
      <dgm:prSet presAssocID="{E83DCC04-9536-4EDD-A3C3-80DCA18ED9D7}" presName="hierChild4" presStyleCnt="0"/>
      <dgm:spPr/>
    </dgm:pt>
    <dgm:pt modelId="{30B67BF8-6E4B-40D2-9D52-779659467596}" type="pres">
      <dgm:prSet presAssocID="{E83DCC04-9536-4EDD-A3C3-80DCA18ED9D7}" presName="hierChild5" presStyleCnt="0"/>
      <dgm:spPr/>
    </dgm:pt>
    <dgm:pt modelId="{56C749CE-EFBC-4092-947A-4684A2CE87AA}" type="pres">
      <dgm:prSet presAssocID="{1FBDD800-4937-403F-A545-81E5488E7CCD}" presName="hierChild5" presStyleCnt="0"/>
      <dgm:spPr/>
    </dgm:pt>
    <dgm:pt modelId="{6DBFEAAE-4134-4A1D-A257-A36C28DFA3D6}" type="pres">
      <dgm:prSet presAssocID="{173CBADA-C59D-4EC1-A627-F5EEA249DE6A}" presName="Name64" presStyleLbl="parChTrans1D4" presStyleIdx="8" presStyleCnt="11"/>
      <dgm:spPr/>
    </dgm:pt>
    <dgm:pt modelId="{4AE26B82-FFCD-429E-90B5-41F8780F8638}" type="pres">
      <dgm:prSet presAssocID="{02DB549D-812F-4281-892F-BC9026E93E1C}" presName="hierRoot2" presStyleCnt="0">
        <dgm:presLayoutVars>
          <dgm:hierBranch val="init"/>
        </dgm:presLayoutVars>
      </dgm:prSet>
      <dgm:spPr/>
    </dgm:pt>
    <dgm:pt modelId="{5510A887-9290-4CB7-B83C-D2A0C8A37656}" type="pres">
      <dgm:prSet presAssocID="{02DB549D-812F-4281-892F-BC9026E93E1C}" presName="rootComposite" presStyleCnt="0"/>
      <dgm:spPr/>
    </dgm:pt>
    <dgm:pt modelId="{C082EB50-066B-4C1C-8B4D-F0367921A422}" type="pres">
      <dgm:prSet presAssocID="{02DB549D-812F-4281-892F-BC9026E93E1C}" presName="rootText" presStyleLbl="node4" presStyleIdx="8" presStyleCnt="11">
        <dgm:presLayoutVars>
          <dgm:chPref val="3"/>
        </dgm:presLayoutVars>
      </dgm:prSet>
      <dgm:spPr/>
    </dgm:pt>
    <dgm:pt modelId="{762F2A4D-29BD-440C-AEC1-ABAD14CA6BDC}" type="pres">
      <dgm:prSet presAssocID="{02DB549D-812F-4281-892F-BC9026E93E1C}" presName="rootConnector" presStyleLbl="node4" presStyleIdx="8" presStyleCnt="11"/>
      <dgm:spPr/>
    </dgm:pt>
    <dgm:pt modelId="{77E7E155-4563-4836-9195-1A623A644818}" type="pres">
      <dgm:prSet presAssocID="{02DB549D-812F-4281-892F-BC9026E93E1C}" presName="hierChild4" presStyleCnt="0"/>
      <dgm:spPr/>
    </dgm:pt>
    <dgm:pt modelId="{82A103D0-3247-4C33-8BB8-C9D8CD42D887}" type="pres">
      <dgm:prSet presAssocID="{B2771E8F-799E-4606-B916-0AF290958183}" presName="Name64" presStyleLbl="parChTrans1D4" presStyleIdx="9" presStyleCnt="11"/>
      <dgm:spPr/>
    </dgm:pt>
    <dgm:pt modelId="{3A485E2B-6600-4908-811E-E21BA06C5F01}" type="pres">
      <dgm:prSet presAssocID="{ADFBF3B1-23EB-41AF-9835-ECF33C73CCB2}" presName="hierRoot2" presStyleCnt="0">
        <dgm:presLayoutVars>
          <dgm:hierBranch val="init"/>
        </dgm:presLayoutVars>
      </dgm:prSet>
      <dgm:spPr/>
    </dgm:pt>
    <dgm:pt modelId="{C654ABA7-91F2-40D4-9F71-DA9564A63CC6}" type="pres">
      <dgm:prSet presAssocID="{ADFBF3B1-23EB-41AF-9835-ECF33C73CCB2}" presName="rootComposite" presStyleCnt="0"/>
      <dgm:spPr/>
    </dgm:pt>
    <dgm:pt modelId="{9F217BB3-89F9-4B6A-A168-166DEAE91D24}" type="pres">
      <dgm:prSet presAssocID="{ADFBF3B1-23EB-41AF-9835-ECF33C73CCB2}" presName="rootText" presStyleLbl="node4" presStyleIdx="9" presStyleCnt="11">
        <dgm:presLayoutVars>
          <dgm:chPref val="3"/>
        </dgm:presLayoutVars>
      </dgm:prSet>
      <dgm:spPr/>
    </dgm:pt>
    <dgm:pt modelId="{63638224-5949-44B5-967F-4B8BAB01B18D}" type="pres">
      <dgm:prSet presAssocID="{ADFBF3B1-23EB-41AF-9835-ECF33C73CCB2}" presName="rootConnector" presStyleLbl="node4" presStyleIdx="9" presStyleCnt="11"/>
      <dgm:spPr/>
    </dgm:pt>
    <dgm:pt modelId="{6D34A79F-35F9-44D7-B924-14793B8BA066}" type="pres">
      <dgm:prSet presAssocID="{ADFBF3B1-23EB-41AF-9835-ECF33C73CCB2}" presName="hierChild4" presStyleCnt="0"/>
      <dgm:spPr/>
    </dgm:pt>
    <dgm:pt modelId="{81E1774E-9638-44D7-9186-EBE75504F224}" type="pres">
      <dgm:prSet presAssocID="{ADFBF3B1-23EB-41AF-9835-ECF33C73CCB2}" presName="hierChild5" presStyleCnt="0"/>
      <dgm:spPr/>
    </dgm:pt>
    <dgm:pt modelId="{9A8731A7-EF03-4B2C-8643-251C47A50BF8}" type="pres">
      <dgm:prSet presAssocID="{02DB549D-812F-4281-892F-BC9026E93E1C}" presName="hierChild5" presStyleCnt="0"/>
      <dgm:spPr/>
    </dgm:pt>
    <dgm:pt modelId="{ADEDC0AA-83C7-45DE-BA63-286792E23DD6}" type="pres">
      <dgm:prSet presAssocID="{C2286186-FB7E-495D-A04D-69C363E69E80}" presName="hierChild5" presStyleCnt="0"/>
      <dgm:spPr/>
    </dgm:pt>
    <dgm:pt modelId="{7D3B4740-FD4D-4269-9DFD-5C3B206656EE}" type="pres">
      <dgm:prSet presAssocID="{174031BD-2FE9-4F79-9579-F4F6410D72D7}" presName="hierChild5" presStyleCnt="0"/>
      <dgm:spPr/>
    </dgm:pt>
    <dgm:pt modelId="{CD2C5A2D-6C35-46B6-9D15-C4C25980B735}" type="pres">
      <dgm:prSet presAssocID="{A8D3D195-19C4-45EA-A385-673406607C26}" presName="Name64" presStyleLbl="parChTrans1D3" presStyleIdx="1" presStyleCnt="2"/>
      <dgm:spPr/>
    </dgm:pt>
    <dgm:pt modelId="{2C1F3FC7-57F4-4DAF-87F1-694FAE40CBA9}" type="pres">
      <dgm:prSet presAssocID="{37474556-AB54-4456-B1AD-273A13D74524}" presName="hierRoot2" presStyleCnt="0">
        <dgm:presLayoutVars>
          <dgm:hierBranch val="init"/>
        </dgm:presLayoutVars>
      </dgm:prSet>
      <dgm:spPr/>
    </dgm:pt>
    <dgm:pt modelId="{CB8293B5-15F3-4600-962A-751A3262149F}" type="pres">
      <dgm:prSet presAssocID="{37474556-AB54-4456-B1AD-273A13D74524}" presName="rootComposite" presStyleCnt="0"/>
      <dgm:spPr/>
    </dgm:pt>
    <dgm:pt modelId="{E07C8236-46D1-440E-8300-A531C934854A}" type="pres">
      <dgm:prSet presAssocID="{37474556-AB54-4456-B1AD-273A13D74524}" presName="rootText" presStyleLbl="node3" presStyleIdx="1" presStyleCnt="2" custLinFactNeighborY="73747">
        <dgm:presLayoutVars>
          <dgm:chPref val="3"/>
        </dgm:presLayoutVars>
      </dgm:prSet>
      <dgm:spPr/>
    </dgm:pt>
    <dgm:pt modelId="{30F02B3C-FAE1-4E02-B5C3-922E53B336D6}" type="pres">
      <dgm:prSet presAssocID="{37474556-AB54-4456-B1AD-273A13D74524}" presName="rootConnector" presStyleLbl="node3" presStyleIdx="1" presStyleCnt="2"/>
      <dgm:spPr/>
    </dgm:pt>
    <dgm:pt modelId="{61E6EFC3-8477-4821-BF47-B9E3D67D0EFF}" type="pres">
      <dgm:prSet presAssocID="{37474556-AB54-4456-B1AD-273A13D74524}" presName="hierChild4" presStyleCnt="0"/>
      <dgm:spPr/>
    </dgm:pt>
    <dgm:pt modelId="{FA125D18-9AE6-4B7F-B453-9CBEA5EEBA23}" type="pres">
      <dgm:prSet presAssocID="{B34E53EC-0179-4663-B609-61E7BF1828CB}" presName="Name64" presStyleLbl="parChTrans1D4" presStyleIdx="10" presStyleCnt="11"/>
      <dgm:spPr/>
    </dgm:pt>
    <dgm:pt modelId="{0B6F80A0-7D8A-41C1-AB43-0F5187212A1A}" type="pres">
      <dgm:prSet presAssocID="{BEED30DE-1F10-4667-822F-7C038948E74B}" presName="hierRoot2" presStyleCnt="0">
        <dgm:presLayoutVars>
          <dgm:hierBranch val="init"/>
        </dgm:presLayoutVars>
      </dgm:prSet>
      <dgm:spPr/>
    </dgm:pt>
    <dgm:pt modelId="{735E904F-4019-405C-9F66-B2A32D4117FC}" type="pres">
      <dgm:prSet presAssocID="{BEED30DE-1F10-4667-822F-7C038948E74B}" presName="rootComposite" presStyleCnt="0"/>
      <dgm:spPr/>
    </dgm:pt>
    <dgm:pt modelId="{2D91E907-BCE8-47AB-A844-400BE2ED838A}" type="pres">
      <dgm:prSet presAssocID="{BEED30DE-1F10-4667-822F-7C038948E74B}" presName="rootText" presStyleLbl="node4" presStyleIdx="10" presStyleCnt="11" custLinFactNeighborX="10087" custLinFactNeighborY="73747">
        <dgm:presLayoutVars>
          <dgm:chPref val="3"/>
        </dgm:presLayoutVars>
      </dgm:prSet>
      <dgm:spPr/>
    </dgm:pt>
    <dgm:pt modelId="{C810906E-F91E-446C-8656-6C9B024B130F}" type="pres">
      <dgm:prSet presAssocID="{BEED30DE-1F10-4667-822F-7C038948E74B}" presName="rootConnector" presStyleLbl="node4" presStyleIdx="10" presStyleCnt="11"/>
      <dgm:spPr/>
    </dgm:pt>
    <dgm:pt modelId="{6E951298-9E32-46FA-BDC9-B9918DB6E9EE}" type="pres">
      <dgm:prSet presAssocID="{BEED30DE-1F10-4667-822F-7C038948E74B}" presName="hierChild4" presStyleCnt="0"/>
      <dgm:spPr/>
    </dgm:pt>
    <dgm:pt modelId="{A781313F-9419-4378-8C79-BFB0B55C5FC4}" type="pres">
      <dgm:prSet presAssocID="{BEED30DE-1F10-4667-822F-7C038948E74B}" presName="hierChild5" presStyleCnt="0"/>
      <dgm:spPr/>
    </dgm:pt>
    <dgm:pt modelId="{EF0D6967-268A-45C3-918C-D8A47BEDDE9C}" type="pres">
      <dgm:prSet presAssocID="{37474556-AB54-4456-B1AD-273A13D74524}" presName="hierChild5" presStyleCnt="0"/>
      <dgm:spPr/>
    </dgm:pt>
    <dgm:pt modelId="{165D14B1-621C-45F8-9984-A1B8B014C9D9}" type="pres">
      <dgm:prSet presAssocID="{ABCB5463-77B5-4836-9F99-0B5FE36DDA58}" presName="hierChild5" presStyleCnt="0"/>
      <dgm:spPr/>
    </dgm:pt>
    <dgm:pt modelId="{D1C57573-238B-4A98-8242-EA85946DC9BD}" type="pres">
      <dgm:prSet presAssocID="{EE12B231-A0A6-4768-A934-ACEAB8CAB8DF}" presName="hierChild3" presStyleCnt="0"/>
      <dgm:spPr/>
    </dgm:pt>
  </dgm:ptLst>
  <dgm:cxnLst>
    <dgm:cxn modelId="{48A1A905-03AA-4031-8AD2-96F5B7392530}" srcId="{E68B9DF8-83E3-4DE2-BC01-1F26624744ED}" destId="{1AB55BF3-597D-44A4-8C96-4EEA98EB1161}" srcOrd="1" destOrd="0" parTransId="{88C168F1-0DC2-4F86-8EE4-3FD2958ADD8D}" sibTransId="{704D3746-0D9B-4B26-BD8B-901CF181F5E4}"/>
    <dgm:cxn modelId="{CD113311-8DB8-4BD8-BA5C-0B650577C07C}" srcId="{174031BD-2FE9-4F79-9579-F4F6410D72D7}" destId="{F1A9027F-EF3C-493D-8137-8335F4B1BF3C}" srcOrd="0" destOrd="0" parTransId="{8F170C17-3D39-4AC4-9D0D-0ADD96592BD1}" sibTransId="{4D79E43A-0B5E-4B9D-9F47-FD699F3D830C}"/>
    <dgm:cxn modelId="{2DDE6B13-4465-42E1-80B3-D021F57DCD9F}" type="presOf" srcId="{969A504F-7F0C-4762-8119-11358DF5C44D}" destId="{BB77D20E-A7CC-4CD0-BD5B-621D09A560B5}" srcOrd="0" destOrd="0" presId="urn:microsoft.com/office/officeart/2009/3/layout/HorizontalOrganizationChart"/>
    <dgm:cxn modelId="{7D51A413-64A8-4382-A055-D3BFBDAC7A4A}" type="presOf" srcId="{C2286186-FB7E-495D-A04D-69C363E69E80}" destId="{5536F0E7-B51C-40C3-8EF2-AB20D68D40C7}" srcOrd="0" destOrd="0" presId="urn:microsoft.com/office/officeart/2009/3/layout/HorizontalOrganizationChart"/>
    <dgm:cxn modelId="{F801501C-45EC-452B-8B6F-03E082954035}" type="presOf" srcId="{ADFBF3B1-23EB-41AF-9835-ECF33C73CCB2}" destId="{63638224-5949-44B5-967F-4B8BAB01B18D}" srcOrd="1" destOrd="0" presId="urn:microsoft.com/office/officeart/2009/3/layout/HorizontalOrganizationChart"/>
    <dgm:cxn modelId="{0C791E1F-2B6B-4D6C-8D72-9724C3A907C2}" type="presOf" srcId="{B34E53EC-0179-4663-B609-61E7BF1828CB}" destId="{FA125D18-9AE6-4B7F-B453-9CBEA5EEBA23}" srcOrd="0" destOrd="0" presId="urn:microsoft.com/office/officeart/2009/3/layout/HorizontalOrganizationChart"/>
    <dgm:cxn modelId="{D2CBD51F-DC91-424F-8E18-0F010BEE5DD9}" type="presOf" srcId="{ABCB5463-77B5-4836-9F99-0B5FE36DDA58}" destId="{D5D716B0-B39E-4ED5-8524-6972392F8166}" srcOrd="0" destOrd="0" presId="urn:microsoft.com/office/officeart/2009/3/layout/HorizontalOrganizationChart"/>
    <dgm:cxn modelId="{E290B62F-B2A4-412B-B628-384E990FEA3A}" type="presOf" srcId="{1FBDD800-4937-403F-A545-81E5488E7CCD}" destId="{57AF1DF6-8E7E-4227-A7C1-CA6068846794}" srcOrd="0" destOrd="0" presId="urn:microsoft.com/office/officeart/2009/3/layout/HorizontalOrganizationChart"/>
    <dgm:cxn modelId="{D23B8238-60AE-4A59-ABFA-E66F6EDFF59A}" type="presOf" srcId="{02DB549D-812F-4281-892F-BC9026E93E1C}" destId="{C082EB50-066B-4C1C-8B4D-F0367921A422}" srcOrd="0" destOrd="0" presId="urn:microsoft.com/office/officeart/2009/3/layout/HorizontalOrganizationChart"/>
    <dgm:cxn modelId="{80F68E3C-BDDF-4D99-9861-E1ADF22F4C40}" type="presOf" srcId="{969A504F-7F0C-4762-8119-11358DF5C44D}" destId="{80F658EB-DE71-418C-8438-EE3FD4716551}" srcOrd="1" destOrd="0" presId="urn:microsoft.com/office/officeart/2009/3/layout/HorizontalOrganizationChart"/>
    <dgm:cxn modelId="{9621115B-1EFF-49ED-83A2-C60AE712F800}" srcId="{ABCB5463-77B5-4836-9F99-0B5FE36DDA58}" destId="{37474556-AB54-4456-B1AD-273A13D74524}" srcOrd="1" destOrd="0" parTransId="{A8D3D195-19C4-45EA-A385-673406607C26}" sibTransId="{AE639D39-DE5B-45A0-B5C8-04A66DDBFBA4}"/>
    <dgm:cxn modelId="{99AE8B63-24CC-48AA-B88E-FA3868441607}" type="presOf" srcId="{E576DD4A-FC0C-45E0-ABEF-C070A8939E85}" destId="{3CDE789E-F19A-444E-B3FE-DEE9881ED12D}" srcOrd="0" destOrd="0" presId="urn:microsoft.com/office/officeart/2009/3/layout/HorizontalOrganizationChart"/>
    <dgm:cxn modelId="{0A3A2049-8290-4F69-85E4-EC9B995E5336}" type="presOf" srcId="{BEED30DE-1F10-4667-822F-7C038948E74B}" destId="{2D91E907-BCE8-47AB-A844-400BE2ED838A}" srcOrd="0" destOrd="0" presId="urn:microsoft.com/office/officeart/2009/3/layout/HorizontalOrganizationChart"/>
    <dgm:cxn modelId="{E145CF6C-C792-48F3-AFAE-0B028FDEB232}" type="presOf" srcId="{F1A9027F-EF3C-493D-8137-8335F4B1BF3C}" destId="{1118774A-202D-4DE0-817A-F6D7423155BC}" srcOrd="1" destOrd="0" presId="urn:microsoft.com/office/officeart/2009/3/layout/HorizontalOrganizationChart"/>
    <dgm:cxn modelId="{4A50E96C-BCF5-4798-9E06-657AE0697CA1}" type="presOf" srcId="{02DB549D-812F-4281-892F-BC9026E93E1C}" destId="{762F2A4D-29BD-440C-AEC1-ABAD14CA6BDC}" srcOrd="1" destOrd="0" presId="urn:microsoft.com/office/officeart/2009/3/layout/HorizontalOrganizationChart"/>
    <dgm:cxn modelId="{F90A154D-1303-4D7B-9700-D9D893A41978}" srcId="{02DB549D-812F-4281-892F-BC9026E93E1C}" destId="{ADFBF3B1-23EB-41AF-9835-ECF33C73CCB2}" srcOrd="0" destOrd="0" parTransId="{B2771E8F-799E-4606-B916-0AF290958183}" sibTransId="{03E4EAD8-E8E0-46BF-91A1-E19BD92EF8BA}"/>
    <dgm:cxn modelId="{C6BABF53-E520-467C-BC5C-CE9F0BFA3CB7}" type="presOf" srcId="{C2286186-FB7E-495D-A04D-69C363E69E80}" destId="{FBA0A664-6794-4B7D-8CCE-A31FC19C361F}" srcOrd="1" destOrd="0" presId="urn:microsoft.com/office/officeart/2009/3/layout/HorizontalOrganizationChart"/>
    <dgm:cxn modelId="{3A2ABB76-19F9-45B1-ADC6-F76C43732414}" type="presOf" srcId="{BEED30DE-1F10-4667-822F-7C038948E74B}" destId="{C810906E-F91E-446C-8656-6C9B024B130F}" srcOrd="1" destOrd="0" presId="urn:microsoft.com/office/officeart/2009/3/layout/HorizontalOrganizationChart"/>
    <dgm:cxn modelId="{2AEE4758-894D-4B41-940F-054E7D1875D5}" srcId="{E68B9DF8-83E3-4DE2-BC01-1F26624744ED}" destId="{7DECEF82-9D5D-4DEE-B557-925F282145D0}" srcOrd="0" destOrd="0" parTransId="{F6F1A37B-DEDC-40A4-B03E-FE258C6CCEEE}" sibTransId="{3B27B5F5-EDD2-4E6B-9BB9-6FF9C1BE7A0A}"/>
    <dgm:cxn modelId="{238B0679-FD4C-48AA-B180-2846028DCCE3}" srcId="{1FBDD800-4937-403F-A545-81E5488E7CCD}" destId="{E83DCC04-9536-4EDD-A3C3-80DCA18ED9D7}" srcOrd="0" destOrd="0" parTransId="{62973E81-85B7-4D58-9D87-C3B761D72CF3}" sibTransId="{F171F784-25FF-418C-8E30-1BE0C075220C}"/>
    <dgm:cxn modelId="{63734359-43D4-40DF-9D89-FA9DEECC49C9}" type="presOf" srcId="{1AB55BF3-597D-44A4-8C96-4EEA98EB1161}" destId="{F33BCE08-E31B-45A0-B412-221DC4ED012C}" srcOrd="0" destOrd="0" presId="urn:microsoft.com/office/officeart/2009/3/layout/HorizontalOrganizationChart"/>
    <dgm:cxn modelId="{0019477B-00A0-4A07-8971-FA0F1B3C6257}" type="presOf" srcId="{515EDAC8-DB2A-4300-BE93-8459720B5BF7}" destId="{D354B297-BE95-44C0-8F39-042F9B8EAE79}" srcOrd="0" destOrd="0" presId="urn:microsoft.com/office/officeart/2009/3/layout/HorizontalOrganizationChart"/>
    <dgm:cxn modelId="{935E077D-DAD7-4E4F-8707-297B5B34C1A2}" srcId="{ABCB5463-77B5-4836-9F99-0B5FE36DDA58}" destId="{174031BD-2FE9-4F79-9579-F4F6410D72D7}" srcOrd="0" destOrd="0" parTransId="{515EDAC8-DB2A-4300-BE93-8459720B5BF7}" sibTransId="{26D35589-D7F4-4195-B678-949082B1127D}"/>
    <dgm:cxn modelId="{203AB97E-FC5C-435B-B089-F7C982138DB0}" type="presOf" srcId="{E68B9DF8-83E3-4DE2-BC01-1F26624744ED}" destId="{F468E544-FE87-4644-AA8C-CDABA2B8B51B}" srcOrd="0" destOrd="0" presId="urn:microsoft.com/office/officeart/2009/3/layout/HorizontalOrganizationChart"/>
    <dgm:cxn modelId="{3144647F-CFE9-4541-A03F-96606003A90D}" type="presOf" srcId="{1FBDD800-4937-403F-A545-81E5488E7CCD}" destId="{E931450B-AF9A-4794-A864-CAD41FF908ED}" srcOrd="1" destOrd="0" presId="urn:microsoft.com/office/officeart/2009/3/layout/HorizontalOrganizationChart"/>
    <dgm:cxn modelId="{F56A8980-946C-4ED3-BA6E-F8155C6F73D7}" type="presOf" srcId="{F6F1A37B-DEDC-40A4-B03E-FE258C6CCEEE}" destId="{32EF92E6-EBAB-407D-86BA-AD99CABA8620}" srcOrd="0" destOrd="0" presId="urn:microsoft.com/office/officeart/2009/3/layout/HorizontalOrganizationChart"/>
    <dgm:cxn modelId="{D3AAF687-0890-4ABF-BBA1-51ADB5262CE3}" type="presOf" srcId="{173CBADA-C59D-4EC1-A627-F5EEA249DE6A}" destId="{6DBFEAAE-4134-4A1D-A257-A36C28DFA3D6}" srcOrd="0" destOrd="0" presId="urn:microsoft.com/office/officeart/2009/3/layout/HorizontalOrganizationChart"/>
    <dgm:cxn modelId="{3BEBDF89-5B8F-4A36-A1D0-D087F2CF7FAF}" type="presOf" srcId="{A8D3D195-19C4-45EA-A385-673406607C26}" destId="{CD2C5A2D-6C35-46B6-9D15-C4C25980B735}" srcOrd="0" destOrd="0" presId="urn:microsoft.com/office/officeart/2009/3/layout/HorizontalOrganizationChart"/>
    <dgm:cxn modelId="{D39BAB8A-0D93-4563-9051-EFF1990C30DA}" type="presOf" srcId="{8F170C17-3D39-4AC4-9D0D-0ADD96592BD1}" destId="{2A5AA3D5-4A11-4ABF-A5E9-514B554C24FF}" srcOrd="0" destOrd="0" presId="urn:microsoft.com/office/officeart/2009/3/layout/HorizontalOrganizationChart"/>
    <dgm:cxn modelId="{762A338D-019D-4CC0-BE98-A0533318321D}" type="presOf" srcId="{E83DCC04-9536-4EDD-A3C3-80DCA18ED9D7}" destId="{F0D8E0F4-ACAD-4919-9D94-FFFF41421820}" srcOrd="1" destOrd="0" presId="urn:microsoft.com/office/officeart/2009/3/layout/HorizontalOrganizationChart"/>
    <dgm:cxn modelId="{C4C45B91-F0AE-4E13-83FA-FE53180F15F1}" type="presOf" srcId="{460B0128-F893-4428-AF46-15A8C0E6517E}" destId="{7C679D1E-2B68-4679-AFF5-8CFF8F58EC48}" srcOrd="0" destOrd="0" presId="urn:microsoft.com/office/officeart/2009/3/layout/HorizontalOrganizationChart"/>
    <dgm:cxn modelId="{3ADD509D-2C63-4A63-8C10-0BC047F2B618}" type="presOf" srcId="{F1A9027F-EF3C-493D-8137-8335F4B1BF3C}" destId="{BDB260E4-98AC-4C17-BD72-92F9BBB225FB}" srcOrd="0" destOrd="0" presId="urn:microsoft.com/office/officeart/2009/3/layout/HorizontalOrganizationChart"/>
    <dgm:cxn modelId="{C9879D9D-DD16-4C36-A159-3AF34D2029AF}" srcId="{C2286186-FB7E-495D-A04D-69C363E69E80}" destId="{02DB549D-812F-4281-892F-BC9026E93E1C}" srcOrd="1" destOrd="0" parTransId="{173CBADA-C59D-4EC1-A627-F5EEA249DE6A}" sibTransId="{E7710D6E-87E2-4377-8F8E-5BD97E25C144}"/>
    <dgm:cxn modelId="{AC23269E-9EFD-4DA3-9AE9-A0AB6977430F}" type="presOf" srcId="{174031BD-2FE9-4F79-9579-F4F6410D72D7}" destId="{47E11ADC-E706-4D3F-B0D2-44AA822F24EF}" srcOrd="0" destOrd="0" presId="urn:microsoft.com/office/officeart/2009/3/layout/HorizontalOrganizationChart"/>
    <dgm:cxn modelId="{124CED9F-88BD-4468-A1EA-0C862AA6BABF}" srcId="{174031BD-2FE9-4F79-9579-F4F6410D72D7}" destId="{C2286186-FB7E-495D-A04D-69C363E69E80}" srcOrd="2" destOrd="0" parTransId="{7F8004A2-450C-4A4A-9926-A18C76CE34CE}" sibTransId="{0DFC3797-72FE-401D-B622-5EA1D425BAB7}"/>
    <dgm:cxn modelId="{232ED3A3-4D0C-44E6-A5BF-3314354F646E}" type="presOf" srcId="{7DECEF82-9D5D-4DEE-B557-925F282145D0}" destId="{3051B5EA-A67A-427B-899E-377840FE81B7}" srcOrd="1" destOrd="0" presId="urn:microsoft.com/office/officeart/2009/3/layout/HorizontalOrganizationChart"/>
    <dgm:cxn modelId="{A28A6DA7-6804-47AA-BED5-B950F5C558C1}" type="presOf" srcId="{ADFBF3B1-23EB-41AF-9835-ECF33C73CCB2}" destId="{9F217BB3-89F9-4B6A-A168-166DEAE91D24}" srcOrd="0" destOrd="0" presId="urn:microsoft.com/office/officeart/2009/3/layout/HorizontalOrganizationChart"/>
    <dgm:cxn modelId="{B5EB96AA-8CF7-48DB-A59A-03E5DEA9077F}" type="presOf" srcId="{A463D3AF-A513-45C8-8246-FF767AD79DC7}" destId="{63E092C8-580B-4E38-96DA-CA30B329F0D1}" srcOrd="0" destOrd="0" presId="urn:microsoft.com/office/officeart/2009/3/layout/HorizontalOrganizationChart"/>
    <dgm:cxn modelId="{759F04AB-63B5-4178-8508-B2F89CB9EBDF}" type="presOf" srcId="{1AB55BF3-597D-44A4-8C96-4EEA98EB1161}" destId="{2BF37815-788C-40CC-8F70-9CEEEF704DB0}" srcOrd="1" destOrd="0" presId="urn:microsoft.com/office/officeart/2009/3/layout/HorizontalOrganizationChart"/>
    <dgm:cxn modelId="{74F2DCAC-518E-4DA6-8992-9BCFE4EA7134}" type="presOf" srcId="{174031BD-2FE9-4F79-9579-F4F6410D72D7}" destId="{5437414E-F2EF-4DD0-9E67-C5FDA0B706E0}" srcOrd="1" destOrd="0" presId="urn:microsoft.com/office/officeart/2009/3/layout/HorizontalOrganizationChart"/>
    <dgm:cxn modelId="{E5ED36B1-DD18-4777-ABDF-E0D30A637042}" srcId="{C2286186-FB7E-495D-A04D-69C363E69E80}" destId="{1FBDD800-4937-403F-A545-81E5488E7CCD}" srcOrd="0" destOrd="0" parTransId="{7AB7D3EF-B17D-4F17-8912-05066DCF0CD4}" sibTransId="{50733A5C-C053-4AB0-AA8E-03B130C6A1A8}"/>
    <dgm:cxn modelId="{CF63A2B3-84B4-481D-B8A7-22D6B35F6015}" type="presOf" srcId="{EE12B231-A0A6-4768-A934-ACEAB8CAB8DF}" destId="{6BB17A36-54BA-45E3-A60F-CFE41FA3F977}" srcOrd="1" destOrd="0" presId="urn:microsoft.com/office/officeart/2009/3/layout/HorizontalOrganizationChart"/>
    <dgm:cxn modelId="{49EEFFB5-F024-4C33-9571-7F49468223E5}" srcId="{E576DD4A-FC0C-45E0-ABEF-C070A8939E85}" destId="{EE12B231-A0A6-4768-A934-ACEAB8CAB8DF}" srcOrd="0" destOrd="0" parTransId="{73D470E0-14AA-43CB-AB74-1EF8DA001E7B}" sibTransId="{9009CAC9-4C6C-46F2-85D6-723AA8C1A561}"/>
    <dgm:cxn modelId="{DE3069B9-B790-4646-8C73-D17E91D64E67}" srcId="{1AB55BF3-597D-44A4-8C96-4EEA98EB1161}" destId="{969A504F-7F0C-4762-8119-11358DF5C44D}" srcOrd="0" destOrd="0" parTransId="{A463D3AF-A513-45C8-8246-FF767AD79DC7}" sibTransId="{CFB3DF3A-40B6-46BA-8299-F0653600FC53}"/>
    <dgm:cxn modelId="{ACB287C0-0DFC-43EE-AAC4-6C6221774DBB}" srcId="{174031BD-2FE9-4F79-9579-F4F6410D72D7}" destId="{E68B9DF8-83E3-4DE2-BC01-1F26624744ED}" srcOrd="1" destOrd="0" parTransId="{D7C6A219-664B-40D7-A8FA-44904416B4B5}" sibTransId="{1594FCAE-8BE5-45FC-BA18-1D47473F33FE}"/>
    <dgm:cxn modelId="{838A85C4-6BDA-4F84-93B3-97B0A22CC33C}" type="presOf" srcId="{E68B9DF8-83E3-4DE2-BC01-1F26624744ED}" destId="{87297E2B-20D2-40AF-A1AB-878094C995B7}" srcOrd="1" destOrd="0" presId="urn:microsoft.com/office/officeart/2009/3/layout/HorizontalOrganizationChart"/>
    <dgm:cxn modelId="{4CAC1DC6-D657-4095-83D3-C8BDC8B2551F}" type="presOf" srcId="{B2771E8F-799E-4606-B916-0AF290958183}" destId="{82A103D0-3247-4C33-8BB8-C9D8CD42D887}" srcOrd="0" destOrd="0" presId="urn:microsoft.com/office/officeart/2009/3/layout/HorizontalOrganizationChart"/>
    <dgm:cxn modelId="{72C884CA-B7BF-4CE3-A24B-329512DD5DA9}" type="presOf" srcId="{D7C6A219-664B-40D7-A8FA-44904416B4B5}" destId="{48BDA912-8A03-45A5-A4F6-E3450579011F}" srcOrd="0" destOrd="0" presId="urn:microsoft.com/office/officeart/2009/3/layout/HorizontalOrganizationChart"/>
    <dgm:cxn modelId="{42BE38CD-2A4E-4D6C-A92A-E4B79517519D}" srcId="{37474556-AB54-4456-B1AD-273A13D74524}" destId="{BEED30DE-1F10-4667-822F-7C038948E74B}" srcOrd="0" destOrd="0" parTransId="{B34E53EC-0179-4663-B609-61E7BF1828CB}" sibTransId="{A82EEA9D-6CAC-4F8F-9FCD-A714AC5387A1}"/>
    <dgm:cxn modelId="{20AA42D4-BD7B-4953-92D7-282533D67D56}" type="presOf" srcId="{7DECEF82-9D5D-4DEE-B557-925F282145D0}" destId="{AB9DEF27-D489-4030-858D-C42AB4B0B273}" srcOrd="0" destOrd="0" presId="urn:microsoft.com/office/officeart/2009/3/layout/HorizontalOrganizationChart"/>
    <dgm:cxn modelId="{22A54DDB-62BA-487C-89E3-2FC897D66277}" type="presOf" srcId="{7AB7D3EF-B17D-4F17-8912-05066DCF0CD4}" destId="{D31E85F0-D910-408B-91A0-5C7BAA37EF04}" srcOrd="0" destOrd="0" presId="urn:microsoft.com/office/officeart/2009/3/layout/HorizontalOrganizationChart"/>
    <dgm:cxn modelId="{F535E6E1-144D-4CDE-9441-D436C1D93838}" type="presOf" srcId="{88C168F1-0DC2-4F86-8EE4-3FD2958ADD8D}" destId="{567B1DF1-EB7D-46EA-B1E6-28B1FC4E11BC}" srcOrd="0" destOrd="0" presId="urn:microsoft.com/office/officeart/2009/3/layout/HorizontalOrganizationChart"/>
    <dgm:cxn modelId="{4D9A79EF-D177-4C47-A579-76498EC445C7}" type="presOf" srcId="{E83DCC04-9536-4EDD-A3C3-80DCA18ED9D7}" destId="{67B70FCA-CD84-4379-B99E-EBF6EF85E9EC}" srcOrd="0" destOrd="0" presId="urn:microsoft.com/office/officeart/2009/3/layout/HorizontalOrganizationChart"/>
    <dgm:cxn modelId="{AFA941F0-E73B-4CBF-B2E3-CB2D119C8CE9}" srcId="{EE12B231-A0A6-4768-A934-ACEAB8CAB8DF}" destId="{ABCB5463-77B5-4836-9F99-0B5FE36DDA58}" srcOrd="0" destOrd="0" parTransId="{460B0128-F893-4428-AF46-15A8C0E6517E}" sibTransId="{1A4DDD41-4025-4310-94E9-BAC5DD6E0BDD}"/>
    <dgm:cxn modelId="{7A0D1FF1-2677-4AAD-9C6D-1D8F2EBE2144}" type="presOf" srcId="{37474556-AB54-4456-B1AD-273A13D74524}" destId="{30F02B3C-FAE1-4E02-B5C3-922E53B336D6}" srcOrd="1" destOrd="0" presId="urn:microsoft.com/office/officeart/2009/3/layout/HorizontalOrganizationChart"/>
    <dgm:cxn modelId="{ED766FF5-EA06-4226-9C34-D531D7CEF12E}" type="presOf" srcId="{37474556-AB54-4456-B1AD-273A13D74524}" destId="{E07C8236-46D1-440E-8300-A531C934854A}" srcOrd="0" destOrd="0" presId="urn:microsoft.com/office/officeart/2009/3/layout/HorizontalOrganizationChart"/>
    <dgm:cxn modelId="{6D8578F6-BF57-4488-8C30-01C8334B6A3F}" type="presOf" srcId="{ABCB5463-77B5-4836-9F99-0B5FE36DDA58}" destId="{B657289A-DAA8-4754-99E5-270425B7F02E}" srcOrd="1" destOrd="0" presId="urn:microsoft.com/office/officeart/2009/3/layout/HorizontalOrganizationChart"/>
    <dgm:cxn modelId="{E3C2F4F8-DF5C-4CA2-8552-012C9638B082}" type="presOf" srcId="{7F8004A2-450C-4A4A-9926-A18C76CE34CE}" destId="{D1B246E6-ECC1-4148-8452-67092DD9C46F}" srcOrd="0" destOrd="0" presId="urn:microsoft.com/office/officeart/2009/3/layout/HorizontalOrganizationChart"/>
    <dgm:cxn modelId="{5ADD4CF9-8CD3-409E-8ED7-664CC0AE6E68}" type="presOf" srcId="{EE12B231-A0A6-4768-A934-ACEAB8CAB8DF}" destId="{85ADD5EE-9DA7-4C3E-BD67-333601972390}" srcOrd="0" destOrd="0" presId="urn:microsoft.com/office/officeart/2009/3/layout/HorizontalOrganizationChart"/>
    <dgm:cxn modelId="{D44FF3FD-F32C-4F3D-A2F0-DCBD774E7873}" type="presOf" srcId="{62973E81-85B7-4D58-9D87-C3B761D72CF3}" destId="{4225ABD1-9CAE-4345-ADF6-4C405D172C9B}" srcOrd="0" destOrd="0" presId="urn:microsoft.com/office/officeart/2009/3/layout/HorizontalOrganizationChart"/>
    <dgm:cxn modelId="{CFD03C68-45D9-4E34-9315-C33D2645FC6D}" type="presParOf" srcId="{3CDE789E-F19A-444E-B3FE-DEE9881ED12D}" destId="{1EF56DBB-4612-4786-B023-F07631519071}" srcOrd="0" destOrd="0" presId="urn:microsoft.com/office/officeart/2009/3/layout/HorizontalOrganizationChart"/>
    <dgm:cxn modelId="{6286CF95-89AC-408E-98AD-F9154A09ADCC}" type="presParOf" srcId="{1EF56DBB-4612-4786-B023-F07631519071}" destId="{D4C90B7A-F3AD-4201-A454-0EC06CD58EB9}" srcOrd="0" destOrd="0" presId="urn:microsoft.com/office/officeart/2009/3/layout/HorizontalOrganizationChart"/>
    <dgm:cxn modelId="{49C52B04-5970-46F3-B600-ABC433D79F5D}" type="presParOf" srcId="{D4C90B7A-F3AD-4201-A454-0EC06CD58EB9}" destId="{85ADD5EE-9DA7-4C3E-BD67-333601972390}" srcOrd="0" destOrd="0" presId="urn:microsoft.com/office/officeart/2009/3/layout/HorizontalOrganizationChart"/>
    <dgm:cxn modelId="{246417F2-8340-4250-BF22-E7A19C24CA12}" type="presParOf" srcId="{D4C90B7A-F3AD-4201-A454-0EC06CD58EB9}" destId="{6BB17A36-54BA-45E3-A60F-CFE41FA3F977}" srcOrd="1" destOrd="0" presId="urn:microsoft.com/office/officeart/2009/3/layout/HorizontalOrganizationChart"/>
    <dgm:cxn modelId="{3D89B793-3A47-48CB-B9EA-CA767D4574C6}" type="presParOf" srcId="{1EF56DBB-4612-4786-B023-F07631519071}" destId="{C9F0B250-2BBD-4634-856B-6340B7AB6691}" srcOrd="1" destOrd="0" presId="urn:microsoft.com/office/officeart/2009/3/layout/HorizontalOrganizationChart"/>
    <dgm:cxn modelId="{FF924C83-1E11-461F-AF04-C73F0F3F31BA}" type="presParOf" srcId="{C9F0B250-2BBD-4634-856B-6340B7AB6691}" destId="{7C679D1E-2B68-4679-AFF5-8CFF8F58EC48}" srcOrd="0" destOrd="0" presId="urn:microsoft.com/office/officeart/2009/3/layout/HorizontalOrganizationChart"/>
    <dgm:cxn modelId="{4F2B8820-75D9-443C-A39A-6C4D316ED179}" type="presParOf" srcId="{C9F0B250-2BBD-4634-856B-6340B7AB6691}" destId="{2F2082D1-EB54-427B-B12A-1726C1325D67}" srcOrd="1" destOrd="0" presId="urn:microsoft.com/office/officeart/2009/3/layout/HorizontalOrganizationChart"/>
    <dgm:cxn modelId="{3CD51123-69F4-4823-846F-A6BDF467C6BA}" type="presParOf" srcId="{2F2082D1-EB54-427B-B12A-1726C1325D67}" destId="{B10B379E-B254-43C5-A85A-9FADB8ACAA2B}" srcOrd="0" destOrd="0" presId="urn:microsoft.com/office/officeart/2009/3/layout/HorizontalOrganizationChart"/>
    <dgm:cxn modelId="{21C7CB7B-6E51-4A44-8E47-B87AE67973BF}" type="presParOf" srcId="{B10B379E-B254-43C5-A85A-9FADB8ACAA2B}" destId="{D5D716B0-B39E-4ED5-8524-6972392F8166}" srcOrd="0" destOrd="0" presId="urn:microsoft.com/office/officeart/2009/3/layout/HorizontalOrganizationChart"/>
    <dgm:cxn modelId="{3B571F11-D2CB-4FE1-9F10-ED1D2AB82222}" type="presParOf" srcId="{B10B379E-B254-43C5-A85A-9FADB8ACAA2B}" destId="{B657289A-DAA8-4754-99E5-270425B7F02E}" srcOrd="1" destOrd="0" presId="urn:microsoft.com/office/officeart/2009/3/layout/HorizontalOrganizationChart"/>
    <dgm:cxn modelId="{D97B1B31-B13A-4663-ACB5-4194375D43B8}" type="presParOf" srcId="{2F2082D1-EB54-427B-B12A-1726C1325D67}" destId="{7F6ABA9F-D4F4-4F73-956C-73030C6FB139}" srcOrd="1" destOrd="0" presId="urn:microsoft.com/office/officeart/2009/3/layout/HorizontalOrganizationChart"/>
    <dgm:cxn modelId="{E5F2E165-9884-4F8A-ADF8-79134531E3A9}" type="presParOf" srcId="{7F6ABA9F-D4F4-4F73-956C-73030C6FB139}" destId="{D354B297-BE95-44C0-8F39-042F9B8EAE79}" srcOrd="0" destOrd="0" presId="urn:microsoft.com/office/officeart/2009/3/layout/HorizontalOrganizationChart"/>
    <dgm:cxn modelId="{E8F1D23B-0CD7-4EC2-8FAB-4A695DD224BC}" type="presParOf" srcId="{7F6ABA9F-D4F4-4F73-956C-73030C6FB139}" destId="{3728040D-DA12-4E52-BA94-D027E58DE5D8}" srcOrd="1" destOrd="0" presId="urn:microsoft.com/office/officeart/2009/3/layout/HorizontalOrganizationChart"/>
    <dgm:cxn modelId="{E1065DB2-3860-4AEE-8FB7-04E8E7AFF8AB}" type="presParOf" srcId="{3728040D-DA12-4E52-BA94-D027E58DE5D8}" destId="{661E46D5-8476-4374-81CD-A6FC417E22D4}" srcOrd="0" destOrd="0" presId="urn:microsoft.com/office/officeart/2009/3/layout/HorizontalOrganizationChart"/>
    <dgm:cxn modelId="{0C32D2BE-3BB8-474E-87C3-798F9AC2AAFF}" type="presParOf" srcId="{661E46D5-8476-4374-81CD-A6FC417E22D4}" destId="{47E11ADC-E706-4D3F-B0D2-44AA822F24EF}" srcOrd="0" destOrd="0" presId="urn:microsoft.com/office/officeart/2009/3/layout/HorizontalOrganizationChart"/>
    <dgm:cxn modelId="{C8DBF160-DCE6-41CB-B5CD-CB4FC12F0554}" type="presParOf" srcId="{661E46D5-8476-4374-81CD-A6FC417E22D4}" destId="{5437414E-F2EF-4DD0-9E67-C5FDA0B706E0}" srcOrd="1" destOrd="0" presId="urn:microsoft.com/office/officeart/2009/3/layout/HorizontalOrganizationChart"/>
    <dgm:cxn modelId="{DE20D74D-94F6-404C-A91A-587860614B00}" type="presParOf" srcId="{3728040D-DA12-4E52-BA94-D027E58DE5D8}" destId="{C794F324-BC9F-44A3-8B6C-06B526397C4E}" srcOrd="1" destOrd="0" presId="urn:microsoft.com/office/officeart/2009/3/layout/HorizontalOrganizationChart"/>
    <dgm:cxn modelId="{3877A114-234E-4996-80D1-AEEF85CD855D}" type="presParOf" srcId="{C794F324-BC9F-44A3-8B6C-06B526397C4E}" destId="{2A5AA3D5-4A11-4ABF-A5E9-514B554C24FF}" srcOrd="0" destOrd="0" presId="urn:microsoft.com/office/officeart/2009/3/layout/HorizontalOrganizationChart"/>
    <dgm:cxn modelId="{A6F44467-DD16-49AA-8AA8-EE18B0CA39C8}" type="presParOf" srcId="{C794F324-BC9F-44A3-8B6C-06B526397C4E}" destId="{623E28CC-D62A-487D-A504-DFA9A33AAE4B}" srcOrd="1" destOrd="0" presId="urn:microsoft.com/office/officeart/2009/3/layout/HorizontalOrganizationChart"/>
    <dgm:cxn modelId="{03CEDC08-B7B9-4636-9EC5-44EECF39891E}" type="presParOf" srcId="{623E28CC-D62A-487D-A504-DFA9A33AAE4B}" destId="{F4178123-6ADC-46EF-98E9-ACB62EC8F6AB}" srcOrd="0" destOrd="0" presId="urn:microsoft.com/office/officeart/2009/3/layout/HorizontalOrganizationChart"/>
    <dgm:cxn modelId="{0A3939CD-ED8E-44C9-B70F-01BB27028F3C}" type="presParOf" srcId="{F4178123-6ADC-46EF-98E9-ACB62EC8F6AB}" destId="{BDB260E4-98AC-4C17-BD72-92F9BBB225FB}" srcOrd="0" destOrd="0" presId="urn:microsoft.com/office/officeart/2009/3/layout/HorizontalOrganizationChart"/>
    <dgm:cxn modelId="{4FB92A77-17CD-4238-A7BA-1AB721E052B3}" type="presParOf" srcId="{F4178123-6ADC-46EF-98E9-ACB62EC8F6AB}" destId="{1118774A-202D-4DE0-817A-F6D7423155BC}" srcOrd="1" destOrd="0" presId="urn:microsoft.com/office/officeart/2009/3/layout/HorizontalOrganizationChart"/>
    <dgm:cxn modelId="{37EAC602-6083-4688-8157-06B5E8AF6A23}" type="presParOf" srcId="{623E28CC-D62A-487D-A504-DFA9A33AAE4B}" destId="{91F94D8D-7523-4EB4-8E42-1BB30BA29858}" srcOrd="1" destOrd="0" presId="urn:microsoft.com/office/officeart/2009/3/layout/HorizontalOrganizationChart"/>
    <dgm:cxn modelId="{7E4CDDEA-BAAB-4D2A-8F9F-8A4E1B74EEE6}" type="presParOf" srcId="{623E28CC-D62A-487D-A504-DFA9A33AAE4B}" destId="{90FDBFDB-05F8-42E8-8C62-F2E3B16ABF8E}" srcOrd="2" destOrd="0" presId="urn:microsoft.com/office/officeart/2009/3/layout/HorizontalOrganizationChart"/>
    <dgm:cxn modelId="{932A6A5E-BA11-4E40-B419-847006304570}" type="presParOf" srcId="{C794F324-BC9F-44A3-8B6C-06B526397C4E}" destId="{48BDA912-8A03-45A5-A4F6-E3450579011F}" srcOrd="2" destOrd="0" presId="urn:microsoft.com/office/officeart/2009/3/layout/HorizontalOrganizationChart"/>
    <dgm:cxn modelId="{5CA8A5CD-B355-4CDE-9095-17F56FB875BE}" type="presParOf" srcId="{C794F324-BC9F-44A3-8B6C-06B526397C4E}" destId="{1F251011-0625-497D-A13E-A16E05765C9B}" srcOrd="3" destOrd="0" presId="urn:microsoft.com/office/officeart/2009/3/layout/HorizontalOrganizationChart"/>
    <dgm:cxn modelId="{BDEA568D-2CAB-4FE4-8A31-921EAE24D445}" type="presParOf" srcId="{1F251011-0625-497D-A13E-A16E05765C9B}" destId="{DF8C73AD-83AD-438B-A1AA-73068ABE6BB3}" srcOrd="0" destOrd="0" presId="urn:microsoft.com/office/officeart/2009/3/layout/HorizontalOrganizationChart"/>
    <dgm:cxn modelId="{0E3FD1A0-A6D6-479F-A2F5-0BC702786DC7}" type="presParOf" srcId="{DF8C73AD-83AD-438B-A1AA-73068ABE6BB3}" destId="{F468E544-FE87-4644-AA8C-CDABA2B8B51B}" srcOrd="0" destOrd="0" presId="urn:microsoft.com/office/officeart/2009/3/layout/HorizontalOrganizationChart"/>
    <dgm:cxn modelId="{7056B04A-185F-44CE-8CBD-4F6FE0D52682}" type="presParOf" srcId="{DF8C73AD-83AD-438B-A1AA-73068ABE6BB3}" destId="{87297E2B-20D2-40AF-A1AB-878094C995B7}" srcOrd="1" destOrd="0" presId="urn:microsoft.com/office/officeart/2009/3/layout/HorizontalOrganizationChart"/>
    <dgm:cxn modelId="{0743716F-25B1-43BE-BD4E-F924850E4941}" type="presParOf" srcId="{1F251011-0625-497D-A13E-A16E05765C9B}" destId="{5ED14D3D-FF75-409D-BE98-7DD89785FE85}" srcOrd="1" destOrd="0" presId="urn:microsoft.com/office/officeart/2009/3/layout/HorizontalOrganizationChart"/>
    <dgm:cxn modelId="{C14557A3-9607-430E-A0BE-3BA66CD5A9C7}" type="presParOf" srcId="{5ED14D3D-FF75-409D-BE98-7DD89785FE85}" destId="{32EF92E6-EBAB-407D-86BA-AD99CABA8620}" srcOrd="0" destOrd="0" presId="urn:microsoft.com/office/officeart/2009/3/layout/HorizontalOrganizationChart"/>
    <dgm:cxn modelId="{804486FC-F266-493A-A3AE-FEA83EB213CC}" type="presParOf" srcId="{5ED14D3D-FF75-409D-BE98-7DD89785FE85}" destId="{FCDC7211-5F37-47F9-8A95-5EB62EC06F90}" srcOrd="1" destOrd="0" presId="urn:microsoft.com/office/officeart/2009/3/layout/HorizontalOrganizationChart"/>
    <dgm:cxn modelId="{FE8C6DF3-3E0D-4383-B623-51E3CA1909E8}" type="presParOf" srcId="{FCDC7211-5F37-47F9-8A95-5EB62EC06F90}" destId="{351BEF9A-200F-4163-A266-368CA59DB7F5}" srcOrd="0" destOrd="0" presId="urn:microsoft.com/office/officeart/2009/3/layout/HorizontalOrganizationChart"/>
    <dgm:cxn modelId="{8AD56300-966F-4DDE-8019-CFD27D012A94}" type="presParOf" srcId="{351BEF9A-200F-4163-A266-368CA59DB7F5}" destId="{AB9DEF27-D489-4030-858D-C42AB4B0B273}" srcOrd="0" destOrd="0" presId="urn:microsoft.com/office/officeart/2009/3/layout/HorizontalOrganizationChart"/>
    <dgm:cxn modelId="{CA8C0922-093D-4822-B0D5-07010C5BDE70}" type="presParOf" srcId="{351BEF9A-200F-4163-A266-368CA59DB7F5}" destId="{3051B5EA-A67A-427B-899E-377840FE81B7}" srcOrd="1" destOrd="0" presId="urn:microsoft.com/office/officeart/2009/3/layout/HorizontalOrganizationChart"/>
    <dgm:cxn modelId="{DA29319F-F75A-4DE1-835A-58620AE098F4}" type="presParOf" srcId="{FCDC7211-5F37-47F9-8A95-5EB62EC06F90}" destId="{D06D9814-5140-44B9-8513-0BF2CE794E3E}" srcOrd="1" destOrd="0" presId="urn:microsoft.com/office/officeart/2009/3/layout/HorizontalOrganizationChart"/>
    <dgm:cxn modelId="{6417EB0D-F149-4851-BED6-16DE2FBBF64C}" type="presParOf" srcId="{FCDC7211-5F37-47F9-8A95-5EB62EC06F90}" destId="{86AB102E-2BBD-4CB2-A279-883F53723B8B}" srcOrd="2" destOrd="0" presId="urn:microsoft.com/office/officeart/2009/3/layout/HorizontalOrganizationChart"/>
    <dgm:cxn modelId="{0E7D2B2F-95C5-4A29-9E46-52384A909ED4}" type="presParOf" srcId="{5ED14D3D-FF75-409D-BE98-7DD89785FE85}" destId="{567B1DF1-EB7D-46EA-B1E6-28B1FC4E11BC}" srcOrd="2" destOrd="0" presId="urn:microsoft.com/office/officeart/2009/3/layout/HorizontalOrganizationChart"/>
    <dgm:cxn modelId="{EF714590-53A8-45F7-B589-9245E8E079E3}" type="presParOf" srcId="{5ED14D3D-FF75-409D-BE98-7DD89785FE85}" destId="{5E43E4D3-7A3E-4475-8AD3-3DEF3B2AE117}" srcOrd="3" destOrd="0" presId="urn:microsoft.com/office/officeart/2009/3/layout/HorizontalOrganizationChart"/>
    <dgm:cxn modelId="{15B1E35C-7711-4CF2-92F2-2BF99646D232}" type="presParOf" srcId="{5E43E4D3-7A3E-4475-8AD3-3DEF3B2AE117}" destId="{7F40D0F6-13A2-4712-B3C7-B47C889D0E0F}" srcOrd="0" destOrd="0" presId="urn:microsoft.com/office/officeart/2009/3/layout/HorizontalOrganizationChart"/>
    <dgm:cxn modelId="{A69FA536-4A33-40AE-8967-1B74639E1EF2}" type="presParOf" srcId="{7F40D0F6-13A2-4712-B3C7-B47C889D0E0F}" destId="{F33BCE08-E31B-45A0-B412-221DC4ED012C}" srcOrd="0" destOrd="0" presId="urn:microsoft.com/office/officeart/2009/3/layout/HorizontalOrganizationChart"/>
    <dgm:cxn modelId="{938DCE08-5F4F-4F0D-B38E-D557DD49A385}" type="presParOf" srcId="{7F40D0F6-13A2-4712-B3C7-B47C889D0E0F}" destId="{2BF37815-788C-40CC-8F70-9CEEEF704DB0}" srcOrd="1" destOrd="0" presId="urn:microsoft.com/office/officeart/2009/3/layout/HorizontalOrganizationChart"/>
    <dgm:cxn modelId="{1EB4840D-8BCC-4AB7-B075-1FF5820262ED}" type="presParOf" srcId="{5E43E4D3-7A3E-4475-8AD3-3DEF3B2AE117}" destId="{FD3EF8A9-E1C7-4B4E-A32D-D72E9B624C18}" srcOrd="1" destOrd="0" presId="urn:microsoft.com/office/officeart/2009/3/layout/HorizontalOrganizationChart"/>
    <dgm:cxn modelId="{B24AF2CC-01C3-4425-ABEB-30404CE741B2}" type="presParOf" srcId="{FD3EF8A9-E1C7-4B4E-A32D-D72E9B624C18}" destId="{63E092C8-580B-4E38-96DA-CA30B329F0D1}" srcOrd="0" destOrd="0" presId="urn:microsoft.com/office/officeart/2009/3/layout/HorizontalOrganizationChart"/>
    <dgm:cxn modelId="{9BECD693-49F0-4164-8641-5D039188B60E}" type="presParOf" srcId="{FD3EF8A9-E1C7-4B4E-A32D-D72E9B624C18}" destId="{BB64F92F-9400-409D-A0F1-7EBA257B3B2C}" srcOrd="1" destOrd="0" presId="urn:microsoft.com/office/officeart/2009/3/layout/HorizontalOrganizationChart"/>
    <dgm:cxn modelId="{1CBB4F28-2955-4A0A-975E-65FD69453512}" type="presParOf" srcId="{BB64F92F-9400-409D-A0F1-7EBA257B3B2C}" destId="{77B175EB-DD6D-4DEF-9DAD-5834264F3F6D}" srcOrd="0" destOrd="0" presId="urn:microsoft.com/office/officeart/2009/3/layout/HorizontalOrganizationChart"/>
    <dgm:cxn modelId="{80EA058D-0E23-4DD2-90F5-32A9AC9B9666}" type="presParOf" srcId="{77B175EB-DD6D-4DEF-9DAD-5834264F3F6D}" destId="{BB77D20E-A7CC-4CD0-BD5B-621D09A560B5}" srcOrd="0" destOrd="0" presId="urn:microsoft.com/office/officeart/2009/3/layout/HorizontalOrganizationChart"/>
    <dgm:cxn modelId="{3A31378A-DB13-4715-9A11-873B3965A081}" type="presParOf" srcId="{77B175EB-DD6D-4DEF-9DAD-5834264F3F6D}" destId="{80F658EB-DE71-418C-8438-EE3FD4716551}" srcOrd="1" destOrd="0" presId="urn:microsoft.com/office/officeart/2009/3/layout/HorizontalOrganizationChart"/>
    <dgm:cxn modelId="{838F2831-09D9-49B0-8FEA-65E83FCF97CD}" type="presParOf" srcId="{BB64F92F-9400-409D-A0F1-7EBA257B3B2C}" destId="{F3D75264-BCD9-455F-84B9-41CDC0C28ADF}" srcOrd="1" destOrd="0" presId="urn:microsoft.com/office/officeart/2009/3/layout/HorizontalOrganizationChart"/>
    <dgm:cxn modelId="{88653A51-BF26-4089-A346-6880D1A11AB9}" type="presParOf" srcId="{BB64F92F-9400-409D-A0F1-7EBA257B3B2C}" destId="{943863F7-CBD5-42E6-8E43-122C83B9C616}" srcOrd="2" destOrd="0" presId="urn:microsoft.com/office/officeart/2009/3/layout/HorizontalOrganizationChart"/>
    <dgm:cxn modelId="{A3FC13EC-3395-49CC-9A8F-91E1020EE825}" type="presParOf" srcId="{5E43E4D3-7A3E-4475-8AD3-3DEF3B2AE117}" destId="{0A97484E-79C0-40C6-8ED6-17DE7282D3B7}" srcOrd="2" destOrd="0" presId="urn:microsoft.com/office/officeart/2009/3/layout/HorizontalOrganizationChart"/>
    <dgm:cxn modelId="{3E429C5E-D510-4B5A-835C-0D633D78FD4A}" type="presParOf" srcId="{1F251011-0625-497D-A13E-A16E05765C9B}" destId="{ED0A1E05-9877-4064-9329-8EFB97C692FE}" srcOrd="2" destOrd="0" presId="urn:microsoft.com/office/officeart/2009/3/layout/HorizontalOrganizationChart"/>
    <dgm:cxn modelId="{8A0C7E84-620E-47F2-B458-DE5685FC29A9}" type="presParOf" srcId="{C794F324-BC9F-44A3-8B6C-06B526397C4E}" destId="{D1B246E6-ECC1-4148-8452-67092DD9C46F}" srcOrd="4" destOrd="0" presId="urn:microsoft.com/office/officeart/2009/3/layout/HorizontalOrganizationChart"/>
    <dgm:cxn modelId="{B8C4AADF-9B7C-405A-85D3-AECC004D9E4A}" type="presParOf" srcId="{C794F324-BC9F-44A3-8B6C-06B526397C4E}" destId="{4E6B7BFD-80EE-4BC3-AA38-EE282194684E}" srcOrd="5" destOrd="0" presId="urn:microsoft.com/office/officeart/2009/3/layout/HorizontalOrganizationChart"/>
    <dgm:cxn modelId="{216A09F6-0223-4207-80BF-1D89BB5A28A8}" type="presParOf" srcId="{4E6B7BFD-80EE-4BC3-AA38-EE282194684E}" destId="{618F3FE4-0942-42FE-A207-4FB025F23FDB}" srcOrd="0" destOrd="0" presId="urn:microsoft.com/office/officeart/2009/3/layout/HorizontalOrganizationChart"/>
    <dgm:cxn modelId="{F6D78316-F58A-4BFD-A44F-3BAD3C0BBEA9}" type="presParOf" srcId="{618F3FE4-0942-42FE-A207-4FB025F23FDB}" destId="{5536F0E7-B51C-40C3-8EF2-AB20D68D40C7}" srcOrd="0" destOrd="0" presId="urn:microsoft.com/office/officeart/2009/3/layout/HorizontalOrganizationChart"/>
    <dgm:cxn modelId="{9C037BCC-8918-4F81-92DD-7A42A72FA983}" type="presParOf" srcId="{618F3FE4-0942-42FE-A207-4FB025F23FDB}" destId="{FBA0A664-6794-4B7D-8CCE-A31FC19C361F}" srcOrd="1" destOrd="0" presId="urn:microsoft.com/office/officeart/2009/3/layout/HorizontalOrganizationChart"/>
    <dgm:cxn modelId="{FAA56D75-CC39-41E3-95EC-B7C41611D423}" type="presParOf" srcId="{4E6B7BFD-80EE-4BC3-AA38-EE282194684E}" destId="{C5D00443-6337-4CE8-9787-7FB7DF33BAAF}" srcOrd="1" destOrd="0" presId="urn:microsoft.com/office/officeart/2009/3/layout/HorizontalOrganizationChart"/>
    <dgm:cxn modelId="{2DDE3919-28B5-46F2-A4CC-9B31F4787BD7}" type="presParOf" srcId="{C5D00443-6337-4CE8-9787-7FB7DF33BAAF}" destId="{D31E85F0-D910-408B-91A0-5C7BAA37EF04}" srcOrd="0" destOrd="0" presId="urn:microsoft.com/office/officeart/2009/3/layout/HorizontalOrganizationChart"/>
    <dgm:cxn modelId="{BF7568DA-0386-4260-8014-139FA3F88EDB}" type="presParOf" srcId="{C5D00443-6337-4CE8-9787-7FB7DF33BAAF}" destId="{0362252F-DADE-4AA0-8DDD-1BEB03DD212B}" srcOrd="1" destOrd="0" presId="urn:microsoft.com/office/officeart/2009/3/layout/HorizontalOrganizationChart"/>
    <dgm:cxn modelId="{83A58E4E-6427-4BA6-8F50-B6FDFBAC5F2E}" type="presParOf" srcId="{0362252F-DADE-4AA0-8DDD-1BEB03DD212B}" destId="{25D61995-8F9D-4DFD-A867-3D8772A71826}" srcOrd="0" destOrd="0" presId="urn:microsoft.com/office/officeart/2009/3/layout/HorizontalOrganizationChart"/>
    <dgm:cxn modelId="{61B74710-A861-4651-B8C9-5C9A97B767A3}" type="presParOf" srcId="{25D61995-8F9D-4DFD-A867-3D8772A71826}" destId="{57AF1DF6-8E7E-4227-A7C1-CA6068846794}" srcOrd="0" destOrd="0" presId="urn:microsoft.com/office/officeart/2009/3/layout/HorizontalOrganizationChart"/>
    <dgm:cxn modelId="{6F53493E-ECE3-47A9-9538-1B27DC4116B0}" type="presParOf" srcId="{25D61995-8F9D-4DFD-A867-3D8772A71826}" destId="{E931450B-AF9A-4794-A864-CAD41FF908ED}" srcOrd="1" destOrd="0" presId="urn:microsoft.com/office/officeart/2009/3/layout/HorizontalOrganizationChart"/>
    <dgm:cxn modelId="{405ED568-C715-4E8D-890C-4F7AFB4A36D7}" type="presParOf" srcId="{0362252F-DADE-4AA0-8DDD-1BEB03DD212B}" destId="{B845A4B4-CAE2-4EDC-BE41-C140AC09EAFB}" srcOrd="1" destOrd="0" presId="urn:microsoft.com/office/officeart/2009/3/layout/HorizontalOrganizationChart"/>
    <dgm:cxn modelId="{0D41CF58-ECF9-471F-9757-3E2A3CDDAAF4}" type="presParOf" srcId="{B845A4B4-CAE2-4EDC-BE41-C140AC09EAFB}" destId="{4225ABD1-9CAE-4345-ADF6-4C405D172C9B}" srcOrd="0" destOrd="0" presId="urn:microsoft.com/office/officeart/2009/3/layout/HorizontalOrganizationChart"/>
    <dgm:cxn modelId="{515AA12E-A95F-43A9-A9A0-CB3C12FEB547}" type="presParOf" srcId="{B845A4B4-CAE2-4EDC-BE41-C140AC09EAFB}" destId="{3B699ED2-347B-47F6-928E-10317A4E5364}" srcOrd="1" destOrd="0" presId="urn:microsoft.com/office/officeart/2009/3/layout/HorizontalOrganizationChart"/>
    <dgm:cxn modelId="{8024ABC4-75F0-4434-9348-D9DD06967A0B}" type="presParOf" srcId="{3B699ED2-347B-47F6-928E-10317A4E5364}" destId="{C9EC1390-65FE-4BDF-8978-30EAB73A072D}" srcOrd="0" destOrd="0" presId="urn:microsoft.com/office/officeart/2009/3/layout/HorizontalOrganizationChart"/>
    <dgm:cxn modelId="{FDC9D58B-DA14-4CEE-84BB-A682B30ABED5}" type="presParOf" srcId="{C9EC1390-65FE-4BDF-8978-30EAB73A072D}" destId="{67B70FCA-CD84-4379-B99E-EBF6EF85E9EC}" srcOrd="0" destOrd="0" presId="urn:microsoft.com/office/officeart/2009/3/layout/HorizontalOrganizationChart"/>
    <dgm:cxn modelId="{CB3CD91F-B4FC-4053-802B-B6EC72C0A358}" type="presParOf" srcId="{C9EC1390-65FE-4BDF-8978-30EAB73A072D}" destId="{F0D8E0F4-ACAD-4919-9D94-FFFF41421820}" srcOrd="1" destOrd="0" presId="urn:microsoft.com/office/officeart/2009/3/layout/HorizontalOrganizationChart"/>
    <dgm:cxn modelId="{0158A212-1C25-4A16-A28D-11A76D000C55}" type="presParOf" srcId="{3B699ED2-347B-47F6-928E-10317A4E5364}" destId="{E981F7DF-9D23-4520-814E-4728FCB946A3}" srcOrd="1" destOrd="0" presId="urn:microsoft.com/office/officeart/2009/3/layout/HorizontalOrganizationChart"/>
    <dgm:cxn modelId="{BBD95BB3-F17A-45E5-8AEF-97EFBA55C7FF}" type="presParOf" srcId="{3B699ED2-347B-47F6-928E-10317A4E5364}" destId="{30B67BF8-6E4B-40D2-9D52-779659467596}" srcOrd="2" destOrd="0" presId="urn:microsoft.com/office/officeart/2009/3/layout/HorizontalOrganizationChart"/>
    <dgm:cxn modelId="{D34B80A0-2D7B-47A7-9413-8899A01DA01C}" type="presParOf" srcId="{0362252F-DADE-4AA0-8DDD-1BEB03DD212B}" destId="{56C749CE-EFBC-4092-947A-4684A2CE87AA}" srcOrd="2" destOrd="0" presId="urn:microsoft.com/office/officeart/2009/3/layout/HorizontalOrganizationChart"/>
    <dgm:cxn modelId="{87A0EDF6-C37B-4F90-B886-7C749DDABDE8}" type="presParOf" srcId="{C5D00443-6337-4CE8-9787-7FB7DF33BAAF}" destId="{6DBFEAAE-4134-4A1D-A257-A36C28DFA3D6}" srcOrd="2" destOrd="0" presId="urn:microsoft.com/office/officeart/2009/3/layout/HorizontalOrganizationChart"/>
    <dgm:cxn modelId="{8BD6D2AD-B7AA-4F2E-9ACA-782502252042}" type="presParOf" srcId="{C5D00443-6337-4CE8-9787-7FB7DF33BAAF}" destId="{4AE26B82-FFCD-429E-90B5-41F8780F8638}" srcOrd="3" destOrd="0" presId="urn:microsoft.com/office/officeart/2009/3/layout/HorizontalOrganizationChart"/>
    <dgm:cxn modelId="{312BA938-3873-4015-B0A9-15EBB4A03EB9}" type="presParOf" srcId="{4AE26B82-FFCD-429E-90B5-41F8780F8638}" destId="{5510A887-9290-4CB7-B83C-D2A0C8A37656}" srcOrd="0" destOrd="0" presId="urn:microsoft.com/office/officeart/2009/3/layout/HorizontalOrganizationChart"/>
    <dgm:cxn modelId="{57481515-ACB5-4200-B759-7F411D76A2F8}" type="presParOf" srcId="{5510A887-9290-4CB7-B83C-D2A0C8A37656}" destId="{C082EB50-066B-4C1C-8B4D-F0367921A422}" srcOrd="0" destOrd="0" presId="urn:microsoft.com/office/officeart/2009/3/layout/HorizontalOrganizationChart"/>
    <dgm:cxn modelId="{C1328FC8-36D1-4222-98E1-908A29302807}" type="presParOf" srcId="{5510A887-9290-4CB7-B83C-D2A0C8A37656}" destId="{762F2A4D-29BD-440C-AEC1-ABAD14CA6BDC}" srcOrd="1" destOrd="0" presId="urn:microsoft.com/office/officeart/2009/3/layout/HorizontalOrganizationChart"/>
    <dgm:cxn modelId="{A9C456E4-9EEA-4F45-ABBB-6952FB7053FC}" type="presParOf" srcId="{4AE26B82-FFCD-429E-90B5-41F8780F8638}" destId="{77E7E155-4563-4836-9195-1A623A644818}" srcOrd="1" destOrd="0" presId="urn:microsoft.com/office/officeart/2009/3/layout/HorizontalOrganizationChart"/>
    <dgm:cxn modelId="{8CF5AC8D-E056-4D8C-B18F-42EA6E568D5A}" type="presParOf" srcId="{77E7E155-4563-4836-9195-1A623A644818}" destId="{82A103D0-3247-4C33-8BB8-C9D8CD42D887}" srcOrd="0" destOrd="0" presId="urn:microsoft.com/office/officeart/2009/3/layout/HorizontalOrganizationChart"/>
    <dgm:cxn modelId="{D0C5EA65-1CF2-47C7-B477-F299E5F3490A}" type="presParOf" srcId="{77E7E155-4563-4836-9195-1A623A644818}" destId="{3A485E2B-6600-4908-811E-E21BA06C5F01}" srcOrd="1" destOrd="0" presId="urn:microsoft.com/office/officeart/2009/3/layout/HorizontalOrganizationChart"/>
    <dgm:cxn modelId="{B43788EA-114A-4513-9F1D-E29A441F308D}" type="presParOf" srcId="{3A485E2B-6600-4908-811E-E21BA06C5F01}" destId="{C654ABA7-91F2-40D4-9F71-DA9564A63CC6}" srcOrd="0" destOrd="0" presId="urn:microsoft.com/office/officeart/2009/3/layout/HorizontalOrganizationChart"/>
    <dgm:cxn modelId="{A0294653-D8EB-4F31-89FC-895E6A9BE0F6}" type="presParOf" srcId="{C654ABA7-91F2-40D4-9F71-DA9564A63CC6}" destId="{9F217BB3-89F9-4B6A-A168-166DEAE91D24}" srcOrd="0" destOrd="0" presId="urn:microsoft.com/office/officeart/2009/3/layout/HorizontalOrganizationChart"/>
    <dgm:cxn modelId="{41AE1E4D-10EC-4664-A768-1A308A0FDC95}" type="presParOf" srcId="{C654ABA7-91F2-40D4-9F71-DA9564A63CC6}" destId="{63638224-5949-44B5-967F-4B8BAB01B18D}" srcOrd="1" destOrd="0" presId="urn:microsoft.com/office/officeart/2009/3/layout/HorizontalOrganizationChart"/>
    <dgm:cxn modelId="{BA9055E9-7296-4750-9907-0DD3FDA14D9A}" type="presParOf" srcId="{3A485E2B-6600-4908-811E-E21BA06C5F01}" destId="{6D34A79F-35F9-44D7-B924-14793B8BA066}" srcOrd="1" destOrd="0" presId="urn:microsoft.com/office/officeart/2009/3/layout/HorizontalOrganizationChart"/>
    <dgm:cxn modelId="{E4888285-DE19-415E-BEA8-651F7C45D1B7}" type="presParOf" srcId="{3A485E2B-6600-4908-811E-E21BA06C5F01}" destId="{81E1774E-9638-44D7-9186-EBE75504F224}" srcOrd="2" destOrd="0" presId="urn:microsoft.com/office/officeart/2009/3/layout/HorizontalOrganizationChart"/>
    <dgm:cxn modelId="{F072B7EA-B0F2-4E8D-AA17-230201F0DAEE}" type="presParOf" srcId="{4AE26B82-FFCD-429E-90B5-41F8780F8638}" destId="{9A8731A7-EF03-4B2C-8643-251C47A50BF8}" srcOrd="2" destOrd="0" presId="urn:microsoft.com/office/officeart/2009/3/layout/HorizontalOrganizationChart"/>
    <dgm:cxn modelId="{088F6D63-7A18-4CCB-8CE8-9FA358F4E5F4}" type="presParOf" srcId="{4E6B7BFD-80EE-4BC3-AA38-EE282194684E}" destId="{ADEDC0AA-83C7-45DE-BA63-286792E23DD6}" srcOrd="2" destOrd="0" presId="urn:microsoft.com/office/officeart/2009/3/layout/HorizontalOrganizationChart"/>
    <dgm:cxn modelId="{376AA795-3694-457B-8E02-57B8DDEA2854}" type="presParOf" srcId="{3728040D-DA12-4E52-BA94-D027E58DE5D8}" destId="{7D3B4740-FD4D-4269-9DFD-5C3B206656EE}" srcOrd="2" destOrd="0" presId="urn:microsoft.com/office/officeart/2009/3/layout/HorizontalOrganizationChart"/>
    <dgm:cxn modelId="{6D8BE073-D3E0-424E-84DF-B0A10E9226AE}" type="presParOf" srcId="{7F6ABA9F-D4F4-4F73-956C-73030C6FB139}" destId="{CD2C5A2D-6C35-46B6-9D15-C4C25980B735}" srcOrd="2" destOrd="0" presId="urn:microsoft.com/office/officeart/2009/3/layout/HorizontalOrganizationChart"/>
    <dgm:cxn modelId="{9E7095DB-D3A9-48B6-865F-3F2F5F6BEA01}" type="presParOf" srcId="{7F6ABA9F-D4F4-4F73-956C-73030C6FB139}" destId="{2C1F3FC7-57F4-4DAF-87F1-694FAE40CBA9}" srcOrd="3" destOrd="0" presId="urn:microsoft.com/office/officeart/2009/3/layout/HorizontalOrganizationChart"/>
    <dgm:cxn modelId="{F69B65EE-4B94-4914-B354-BD83B8F5FD6F}" type="presParOf" srcId="{2C1F3FC7-57F4-4DAF-87F1-694FAE40CBA9}" destId="{CB8293B5-15F3-4600-962A-751A3262149F}" srcOrd="0" destOrd="0" presId="urn:microsoft.com/office/officeart/2009/3/layout/HorizontalOrganizationChart"/>
    <dgm:cxn modelId="{3296BB84-C7E0-43A9-A406-3389CEA45F6D}" type="presParOf" srcId="{CB8293B5-15F3-4600-962A-751A3262149F}" destId="{E07C8236-46D1-440E-8300-A531C934854A}" srcOrd="0" destOrd="0" presId="urn:microsoft.com/office/officeart/2009/3/layout/HorizontalOrganizationChart"/>
    <dgm:cxn modelId="{E1E0A3B7-E952-403C-904B-BEE7AF67BF3F}" type="presParOf" srcId="{CB8293B5-15F3-4600-962A-751A3262149F}" destId="{30F02B3C-FAE1-4E02-B5C3-922E53B336D6}" srcOrd="1" destOrd="0" presId="urn:microsoft.com/office/officeart/2009/3/layout/HorizontalOrganizationChart"/>
    <dgm:cxn modelId="{6E59D21F-BD6B-43E0-BFDD-02CD5393475F}" type="presParOf" srcId="{2C1F3FC7-57F4-4DAF-87F1-694FAE40CBA9}" destId="{61E6EFC3-8477-4821-BF47-B9E3D67D0EFF}" srcOrd="1" destOrd="0" presId="urn:microsoft.com/office/officeart/2009/3/layout/HorizontalOrganizationChart"/>
    <dgm:cxn modelId="{BDBD03AE-38FD-47E6-9F4C-5C5FD191D38C}" type="presParOf" srcId="{61E6EFC3-8477-4821-BF47-B9E3D67D0EFF}" destId="{FA125D18-9AE6-4B7F-B453-9CBEA5EEBA23}" srcOrd="0" destOrd="0" presId="urn:microsoft.com/office/officeart/2009/3/layout/HorizontalOrganizationChart"/>
    <dgm:cxn modelId="{0CEF7DEF-95CD-4677-8B6C-CF92FB581C83}" type="presParOf" srcId="{61E6EFC3-8477-4821-BF47-B9E3D67D0EFF}" destId="{0B6F80A0-7D8A-41C1-AB43-0F5187212A1A}" srcOrd="1" destOrd="0" presId="urn:microsoft.com/office/officeart/2009/3/layout/HorizontalOrganizationChart"/>
    <dgm:cxn modelId="{B2FBBB5D-B197-4E77-9F98-56970A83C00A}" type="presParOf" srcId="{0B6F80A0-7D8A-41C1-AB43-0F5187212A1A}" destId="{735E904F-4019-405C-9F66-B2A32D4117FC}" srcOrd="0" destOrd="0" presId="urn:microsoft.com/office/officeart/2009/3/layout/HorizontalOrganizationChart"/>
    <dgm:cxn modelId="{81E889D9-88C7-44E0-B06A-17A740C1228B}" type="presParOf" srcId="{735E904F-4019-405C-9F66-B2A32D4117FC}" destId="{2D91E907-BCE8-47AB-A844-400BE2ED838A}" srcOrd="0" destOrd="0" presId="urn:microsoft.com/office/officeart/2009/3/layout/HorizontalOrganizationChart"/>
    <dgm:cxn modelId="{550536F9-3C68-45BD-AE88-38B0E4A51160}" type="presParOf" srcId="{735E904F-4019-405C-9F66-B2A32D4117FC}" destId="{C810906E-F91E-446C-8656-6C9B024B130F}" srcOrd="1" destOrd="0" presId="urn:microsoft.com/office/officeart/2009/3/layout/HorizontalOrganizationChart"/>
    <dgm:cxn modelId="{440F3230-801C-4D06-A0BA-CA21D5C1CAE4}" type="presParOf" srcId="{0B6F80A0-7D8A-41C1-AB43-0F5187212A1A}" destId="{6E951298-9E32-46FA-BDC9-B9918DB6E9EE}" srcOrd="1" destOrd="0" presId="urn:microsoft.com/office/officeart/2009/3/layout/HorizontalOrganizationChart"/>
    <dgm:cxn modelId="{28D1FCC1-3977-4E14-A80C-48DEE058FFD2}" type="presParOf" srcId="{0B6F80A0-7D8A-41C1-AB43-0F5187212A1A}" destId="{A781313F-9419-4378-8C79-BFB0B55C5FC4}" srcOrd="2" destOrd="0" presId="urn:microsoft.com/office/officeart/2009/3/layout/HorizontalOrganizationChart"/>
    <dgm:cxn modelId="{EE1812E7-3477-4145-9790-1A1EAEF8E792}" type="presParOf" srcId="{2C1F3FC7-57F4-4DAF-87F1-694FAE40CBA9}" destId="{EF0D6967-268A-45C3-918C-D8A47BEDDE9C}" srcOrd="2" destOrd="0" presId="urn:microsoft.com/office/officeart/2009/3/layout/HorizontalOrganizationChart"/>
    <dgm:cxn modelId="{74090DF7-97AB-4918-B791-2D851EF524F6}" type="presParOf" srcId="{2F2082D1-EB54-427B-B12A-1726C1325D67}" destId="{165D14B1-621C-45F8-9984-A1B8B014C9D9}" srcOrd="2" destOrd="0" presId="urn:microsoft.com/office/officeart/2009/3/layout/HorizontalOrganizationChart"/>
    <dgm:cxn modelId="{107A6E6E-D5EA-433E-AF69-056FA492BF0E}" type="presParOf" srcId="{1EF56DBB-4612-4786-B023-F07631519071}" destId="{D1C57573-238B-4A98-8242-EA85946DC9BD}" srcOrd="2" destOrd="0" presId="urn:microsoft.com/office/officeart/2009/3/layout/HorizontalOrganizationChart"/>
  </dgm:cxnLst>
  <dgm:bg/>
  <dgm:whole>
    <a:ln w="12700"/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576DD4A-FC0C-45E0-ABEF-C070A8939E85}" type="doc">
      <dgm:prSet loTypeId="urn:microsoft.com/office/officeart/2009/3/layout/HorizontalOrganizationChart" loCatId="hierarchy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06EDCF3E-DF83-4951-8661-6C887E391F7D}">
      <dgm:prSet phldrT="[Text]" custT="1"/>
      <dgm:spPr>
        <a:ln>
          <a:noFill/>
        </a:ln>
      </dgm:spPr>
      <dgm:t>
        <a:bodyPr/>
        <a:lstStyle/>
        <a:p>
          <a:r>
            <a:rPr lang="en-IN" sz="1300" dirty="0"/>
            <a:t>Optimize collection efforts once account is charged-off</a:t>
          </a:r>
          <a:endParaRPr lang="en-US" sz="1300" b="0" dirty="0">
            <a:latin typeface="Calibri 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DBCEE24A-85AC-46D8-A5B5-95E90BAF31AC}" type="sibTrans" cxnId="{2C32A21E-21DF-498B-A901-50E5FA9DC82F}">
      <dgm:prSet/>
      <dgm:spPr/>
      <dgm:t>
        <a:bodyPr/>
        <a:lstStyle/>
        <a:p>
          <a:endParaRPr lang="en-US" sz="1100" b="1"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F7423E18-8091-4013-9F2B-4076BF34E40B}" type="parTrans" cxnId="{2C32A21E-21DF-498B-A901-50E5FA9DC82F}">
      <dgm:prSet/>
      <dgm:spPr/>
      <dgm:t>
        <a:bodyPr/>
        <a:lstStyle/>
        <a:p>
          <a:endParaRPr lang="en-US" sz="1100" b="1"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42AD1FC9-77FE-4387-A75C-E3CF0B231F02}">
      <dgm:prSet phldrT="[Text]" custT="1"/>
      <dgm:spPr>
        <a:ln>
          <a:noFill/>
        </a:ln>
      </dgm:spPr>
      <dgm:t>
        <a:bodyPr/>
        <a:lstStyle/>
        <a:p>
          <a:r>
            <a:rPr lang="en-US" sz="1300" b="0" dirty="0">
              <a:latin typeface="Calibri "/>
              <a:ea typeface="Segoe UI" panose="020B0502040204020203" pitchFamily="34" charset="0"/>
              <a:cs typeface="Segoe UI" panose="020B0502040204020203" pitchFamily="34" charset="0"/>
            </a:rPr>
            <a:t>Don’t sell debt to collection agency</a:t>
          </a:r>
        </a:p>
      </dgm:t>
    </dgm:pt>
    <dgm:pt modelId="{C8D9F544-A8F4-48E1-93E4-DDDBDBE0568B}" type="parTrans" cxnId="{6A186C0D-1675-42D8-A941-B5D447902EF6}">
      <dgm:prSet/>
      <dgm:spPr>
        <a:ln w="9525"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E25FA2FA-CD48-4AD9-B660-4B6E9C365808}" type="sibTrans" cxnId="{6A186C0D-1675-42D8-A941-B5D447902EF6}">
      <dgm:prSet/>
      <dgm:spPr/>
      <dgm:t>
        <a:bodyPr/>
        <a:lstStyle/>
        <a:p>
          <a:endParaRPr lang="en-US"/>
        </a:p>
      </dgm:t>
    </dgm:pt>
    <dgm:pt modelId="{92841C49-D88C-4E99-A989-12B3A75FCEE9}">
      <dgm:prSet phldrT="[Text]" custT="1"/>
      <dgm:spPr>
        <a:ln>
          <a:noFill/>
        </a:ln>
      </dgm:spPr>
      <dgm:t>
        <a:bodyPr/>
        <a:lstStyle/>
        <a:p>
          <a:r>
            <a:rPr lang="en-US" sz="1300" b="0" dirty="0">
              <a:latin typeface="Calibri "/>
              <a:ea typeface="Segoe UI" panose="020B0502040204020203" pitchFamily="34" charset="0"/>
              <a:cs typeface="Segoe UI" panose="020B0502040204020203" pitchFamily="34" charset="0"/>
            </a:rPr>
            <a:t>Sell debt to Collection agency</a:t>
          </a:r>
        </a:p>
      </dgm:t>
    </dgm:pt>
    <dgm:pt modelId="{A1123680-9CF2-4553-B73E-C2E6D0D89FB9}" type="parTrans" cxnId="{2B3B9AFA-7E7B-4B0D-A8DF-9932D4B0E296}">
      <dgm:prSet/>
      <dgm:spPr>
        <a:ln w="9525"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1BB6AB40-C1F3-476E-BAF1-2D0E462643A7}" type="sibTrans" cxnId="{2B3B9AFA-7E7B-4B0D-A8DF-9932D4B0E296}">
      <dgm:prSet/>
      <dgm:spPr/>
      <dgm:t>
        <a:bodyPr/>
        <a:lstStyle/>
        <a:p>
          <a:endParaRPr lang="en-US"/>
        </a:p>
      </dgm:t>
    </dgm:pt>
    <dgm:pt modelId="{1EBA79C9-FE84-4D64-A55C-86230ED5AFA0}">
      <dgm:prSet phldrT="[Text]" custT="1"/>
      <dgm:spPr>
        <a:ln>
          <a:noFill/>
        </a:ln>
      </dgm:spPr>
      <dgm:t>
        <a:bodyPr/>
        <a:lstStyle/>
        <a:p>
          <a:r>
            <a:rPr lang="en-US" sz="1300" b="0" kern="1200" dirty="0">
              <a:solidFill>
                <a:srgbClr val="474C55"/>
              </a:solidFill>
              <a:latin typeface="Calibri "/>
              <a:ea typeface="Segoe UI" panose="020B0502040204020203" pitchFamily="34" charset="0"/>
              <a:cs typeface="Segoe UI" panose="020B0502040204020203" pitchFamily="34" charset="0"/>
            </a:rPr>
            <a:t>Work with the original lender </a:t>
          </a:r>
          <a:r>
            <a:rPr lang="en-US" sz="1300" b="0" i="0" kern="1200" dirty="0"/>
            <a:t>to pay back the debt</a:t>
          </a:r>
          <a:endParaRPr lang="en-US" sz="1300" b="0" kern="1200" dirty="0">
            <a:solidFill>
              <a:srgbClr val="474C55"/>
            </a:solidFill>
            <a:latin typeface="Calibri 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888918CB-400B-4809-A853-D61BB98CB2A8}" type="parTrans" cxnId="{F3D35495-5DB4-4FE1-A5E1-7819606BCAE7}">
      <dgm:prSet/>
      <dgm:spPr>
        <a:ln w="9525"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4282F4D9-6CF1-4608-98B0-C6677B5FBD3D}" type="sibTrans" cxnId="{F3D35495-5DB4-4FE1-A5E1-7819606BCAE7}">
      <dgm:prSet/>
      <dgm:spPr/>
      <dgm:t>
        <a:bodyPr/>
        <a:lstStyle/>
        <a:p>
          <a:endParaRPr lang="en-US"/>
        </a:p>
      </dgm:t>
    </dgm:pt>
    <dgm:pt modelId="{E83FEC49-5C56-4123-8DBE-443197A89A9F}">
      <dgm:prSet/>
      <dgm:spPr/>
      <dgm:t>
        <a:bodyPr/>
        <a:lstStyle/>
        <a:p>
          <a:r>
            <a:rPr lang="en-US" dirty="0"/>
            <a:t>Willing to pay</a:t>
          </a:r>
        </a:p>
      </dgm:t>
    </dgm:pt>
    <dgm:pt modelId="{DADBB573-D19D-46E1-9ECC-DA94D4C55E25}" type="parTrans" cxnId="{156D5F98-358A-4FB3-B6C6-AD6B58D05269}">
      <dgm:prSet/>
      <dgm:spPr/>
      <dgm:t>
        <a:bodyPr/>
        <a:lstStyle/>
        <a:p>
          <a:endParaRPr lang="en-US"/>
        </a:p>
      </dgm:t>
    </dgm:pt>
    <dgm:pt modelId="{A7F075FF-9EA2-45CA-9A9D-8D4931C07789}" type="sibTrans" cxnId="{156D5F98-358A-4FB3-B6C6-AD6B58D05269}">
      <dgm:prSet/>
      <dgm:spPr/>
      <dgm:t>
        <a:bodyPr/>
        <a:lstStyle/>
        <a:p>
          <a:endParaRPr lang="en-US"/>
        </a:p>
      </dgm:t>
    </dgm:pt>
    <dgm:pt modelId="{1E861B27-A6C2-44AC-8D80-8DAB2CA620A6}">
      <dgm:prSet/>
      <dgm:spPr/>
      <dgm:t>
        <a:bodyPr/>
        <a:lstStyle/>
        <a:p>
          <a:r>
            <a:rPr lang="en-US" dirty="0"/>
            <a:t>Not willing to pay</a:t>
          </a:r>
        </a:p>
      </dgm:t>
    </dgm:pt>
    <dgm:pt modelId="{02D1AFC2-DE4D-4152-B515-BB25072A19EA}" type="parTrans" cxnId="{70D0426F-4183-4BF9-898E-F97BC17A9A5D}">
      <dgm:prSet/>
      <dgm:spPr/>
      <dgm:t>
        <a:bodyPr/>
        <a:lstStyle/>
        <a:p>
          <a:endParaRPr lang="en-US"/>
        </a:p>
      </dgm:t>
    </dgm:pt>
    <dgm:pt modelId="{DE0CEF1E-9218-45C0-A11B-08DF83A75EDE}" type="sibTrans" cxnId="{70D0426F-4183-4BF9-898E-F97BC17A9A5D}">
      <dgm:prSet/>
      <dgm:spPr/>
      <dgm:t>
        <a:bodyPr/>
        <a:lstStyle/>
        <a:p>
          <a:endParaRPr lang="en-US"/>
        </a:p>
      </dgm:t>
    </dgm:pt>
    <dgm:pt modelId="{B711DE2F-6207-4A79-B68D-A99E5DFF150D}">
      <dgm:prSet/>
      <dgm:spPr/>
      <dgm:t>
        <a:bodyPr/>
        <a:lstStyle/>
        <a:p>
          <a:r>
            <a:rPr lang="en-US" b="0" i="0" dirty="0"/>
            <a:t>File a lawsuit against client for property or asset seizure</a:t>
          </a:r>
          <a:endParaRPr lang="en-US" dirty="0"/>
        </a:p>
      </dgm:t>
    </dgm:pt>
    <dgm:pt modelId="{D41997C1-8620-45C5-8CCE-0438C00F20B5}" type="parTrans" cxnId="{313FE261-8802-4CED-BCAA-72671E223D64}">
      <dgm:prSet/>
      <dgm:spPr/>
      <dgm:t>
        <a:bodyPr/>
        <a:lstStyle/>
        <a:p>
          <a:endParaRPr lang="en-US"/>
        </a:p>
      </dgm:t>
    </dgm:pt>
    <dgm:pt modelId="{86B10585-5494-453B-8C16-5DC2DEC6F3D9}" type="sibTrans" cxnId="{313FE261-8802-4CED-BCAA-72671E223D64}">
      <dgm:prSet/>
      <dgm:spPr/>
      <dgm:t>
        <a:bodyPr/>
        <a:lstStyle/>
        <a:p>
          <a:endParaRPr lang="en-US"/>
        </a:p>
      </dgm:t>
    </dgm:pt>
    <dgm:pt modelId="{9A3408B0-6686-475C-A5C5-E12900EA075F}">
      <dgm:prSet/>
      <dgm:spPr/>
      <dgm:t>
        <a:bodyPr/>
        <a:lstStyle/>
        <a:p>
          <a:r>
            <a:rPr lang="en-US" dirty="0"/>
            <a:t>Workout on payment plan for remaining balance</a:t>
          </a:r>
        </a:p>
      </dgm:t>
    </dgm:pt>
    <dgm:pt modelId="{BF96DFA0-2A04-49F7-A46E-0C3307A546B5}" type="parTrans" cxnId="{21C0CBBF-3760-47E1-985D-00556398F993}">
      <dgm:prSet/>
      <dgm:spPr/>
      <dgm:t>
        <a:bodyPr/>
        <a:lstStyle/>
        <a:p>
          <a:endParaRPr lang="en-US"/>
        </a:p>
      </dgm:t>
    </dgm:pt>
    <dgm:pt modelId="{3F534A69-4092-4671-90AE-A871B5522BB0}" type="sibTrans" cxnId="{21C0CBBF-3760-47E1-985D-00556398F993}">
      <dgm:prSet/>
      <dgm:spPr/>
      <dgm:t>
        <a:bodyPr/>
        <a:lstStyle/>
        <a:p>
          <a:endParaRPr lang="en-US"/>
        </a:p>
      </dgm:t>
    </dgm:pt>
    <dgm:pt modelId="{D0842C1C-849C-42AD-8540-E0F8F7802B8F}">
      <dgm:prSet/>
      <dgm:spPr/>
      <dgm:t>
        <a:bodyPr/>
        <a:lstStyle/>
        <a:p>
          <a:r>
            <a:rPr lang="en-US" b="0" i="0" dirty="0"/>
            <a:t>Negotiate a settlement and accepts less money than originally agreed</a:t>
          </a:r>
          <a:endParaRPr lang="en-US" b="0" dirty="0">
            <a:latin typeface="Calibri "/>
            <a:ea typeface="Segoe UI" panose="020B0502040204020203" pitchFamily="34" charset="0"/>
            <a:cs typeface="Segoe UI" panose="020B0502040204020203" pitchFamily="34" charset="0"/>
          </a:endParaRPr>
        </a:p>
      </dgm:t>
    </dgm:pt>
    <dgm:pt modelId="{F8EA91A5-26C0-4111-8F82-C6394439F39E}" type="parTrans" cxnId="{673CB543-5D52-453B-ACD8-EB55BCF36942}">
      <dgm:prSet/>
      <dgm:spPr/>
      <dgm:t>
        <a:bodyPr/>
        <a:lstStyle/>
        <a:p>
          <a:endParaRPr lang="en-US"/>
        </a:p>
      </dgm:t>
    </dgm:pt>
    <dgm:pt modelId="{A7CBB2D1-C33A-4132-A2B4-3A75E0B16D91}" type="sibTrans" cxnId="{673CB543-5D52-453B-ACD8-EB55BCF36942}">
      <dgm:prSet/>
      <dgm:spPr/>
      <dgm:t>
        <a:bodyPr/>
        <a:lstStyle/>
        <a:p>
          <a:endParaRPr lang="en-US"/>
        </a:p>
      </dgm:t>
    </dgm:pt>
    <dgm:pt modelId="{3CDE789E-F19A-444E-B3FE-DEE9881ED12D}" type="pres">
      <dgm:prSet presAssocID="{E576DD4A-FC0C-45E0-ABEF-C070A8939E8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76563FE-E6A9-420D-8654-8CBAD48CD965}" type="pres">
      <dgm:prSet presAssocID="{06EDCF3E-DF83-4951-8661-6C887E391F7D}" presName="hierRoot1" presStyleCnt="0">
        <dgm:presLayoutVars>
          <dgm:hierBranch val="init"/>
        </dgm:presLayoutVars>
      </dgm:prSet>
      <dgm:spPr/>
    </dgm:pt>
    <dgm:pt modelId="{F8A3DF14-3B29-45AD-A6FB-154EE6AFB7BA}" type="pres">
      <dgm:prSet presAssocID="{06EDCF3E-DF83-4951-8661-6C887E391F7D}" presName="rootComposite1" presStyleCnt="0"/>
      <dgm:spPr/>
    </dgm:pt>
    <dgm:pt modelId="{8D1C9CDB-1460-4F2B-997F-6CA34E2B77A1}" type="pres">
      <dgm:prSet presAssocID="{06EDCF3E-DF83-4951-8661-6C887E391F7D}" presName="rootText1" presStyleLbl="node0" presStyleIdx="0" presStyleCnt="1" custLinFactNeighborX="484" custLinFactNeighborY="181">
        <dgm:presLayoutVars>
          <dgm:chPref val="3"/>
        </dgm:presLayoutVars>
      </dgm:prSet>
      <dgm:spPr/>
    </dgm:pt>
    <dgm:pt modelId="{1A1FF1FD-D65F-43C4-A2D9-4CE54F2CBBE9}" type="pres">
      <dgm:prSet presAssocID="{06EDCF3E-DF83-4951-8661-6C887E391F7D}" presName="rootConnector1" presStyleLbl="node1" presStyleIdx="0" presStyleCnt="0"/>
      <dgm:spPr/>
    </dgm:pt>
    <dgm:pt modelId="{A3775F14-8336-4A54-8B23-DB9F98DDF824}" type="pres">
      <dgm:prSet presAssocID="{06EDCF3E-DF83-4951-8661-6C887E391F7D}" presName="hierChild2" presStyleCnt="0"/>
      <dgm:spPr/>
    </dgm:pt>
    <dgm:pt modelId="{27E6F27B-F777-4CF2-B46E-987B144773DA}" type="pres">
      <dgm:prSet presAssocID="{A1123680-9CF2-4553-B73E-C2E6D0D89FB9}" presName="Name64" presStyleLbl="parChTrans1D2" presStyleIdx="0" presStyleCnt="2"/>
      <dgm:spPr/>
    </dgm:pt>
    <dgm:pt modelId="{0A6D3CCA-D97D-4898-BCD1-9B5821814FDE}" type="pres">
      <dgm:prSet presAssocID="{92841C49-D88C-4E99-A989-12B3A75FCEE9}" presName="hierRoot2" presStyleCnt="0">
        <dgm:presLayoutVars>
          <dgm:hierBranch val="init"/>
        </dgm:presLayoutVars>
      </dgm:prSet>
      <dgm:spPr/>
    </dgm:pt>
    <dgm:pt modelId="{2EB68F86-5E50-4111-A10A-FA7A48CF3377}" type="pres">
      <dgm:prSet presAssocID="{92841C49-D88C-4E99-A989-12B3A75FCEE9}" presName="rootComposite" presStyleCnt="0"/>
      <dgm:spPr/>
    </dgm:pt>
    <dgm:pt modelId="{83CD67A1-C11F-4E4A-9AC5-BAAE37E8CFEA}" type="pres">
      <dgm:prSet presAssocID="{92841C49-D88C-4E99-A989-12B3A75FCEE9}" presName="rootText" presStyleLbl="node2" presStyleIdx="0" presStyleCnt="2" custLinFactNeighborX="484" custLinFactNeighborY="181">
        <dgm:presLayoutVars>
          <dgm:chPref val="3"/>
        </dgm:presLayoutVars>
      </dgm:prSet>
      <dgm:spPr/>
    </dgm:pt>
    <dgm:pt modelId="{3F86D51C-D966-40EF-A5E7-C582A5011EC6}" type="pres">
      <dgm:prSet presAssocID="{92841C49-D88C-4E99-A989-12B3A75FCEE9}" presName="rootConnector" presStyleLbl="node2" presStyleIdx="0" presStyleCnt="2"/>
      <dgm:spPr/>
    </dgm:pt>
    <dgm:pt modelId="{7433D136-F98E-4BCE-984F-8E95A10188EE}" type="pres">
      <dgm:prSet presAssocID="{92841C49-D88C-4E99-A989-12B3A75FCEE9}" presName="hierChild4" presStyleCnt="0"/>
      <dgm:spPr/>
    </dgm:pt>
    <dgm:pt modelId="{50D365AE-D801-43A8-BBC6-38F5470DE60C}" type="pres">
      <dgm:prSet presAssocID="{92841C49-D88C-4E99-A989-12B3A75FCEE9}" presName="hierChild5" presStyleCnt="0"/>
      <dgm:spPr/>
    </dgm:pt>
    <dgm:pt modelId="{67611A72-995D-4025-B5D4-C885C138341A}" type="pres">
      <dgm:prSet presAssocID="{C8D9F544-A8F4-48E1-93E4-DDDBDBE0568B}" presName="Name64" presStyleLbl="parChTrans1D2" presStyleIdx="1" presStyleCnt="2"/>
      <dgm:spPr/>
    </dgm:pt>
    <dgm:pt modelId="{3FBC8892-45D4-461F-922C-0EF2C27DBA73}" type="pres">
      <dgm:prSet presAssocID="{42AD1FC9-77FE-4387-A75C-E3CF0B231F02}" presName="hierRoot2" presStyleCnt="0">
        <dgm:presLayoutVars>
          <dgm:hierBranch val="init"/>
        </dgm:presLayoutVars>
      </dgm:prSet>
      <dgm:spPr/>
    </dgm:pt>
    <dgm:pt modelId="{819D98D6-739A-4CED-AB13-C7052B2BA75A}" type="pres">
      <dgm:prSet presAssocID="{42AD1FC9-77FE-4387-A75C-E3CF0B231F02}" presName="rootComposite" presStyleCnt="0"/>
      <dgm:spPr/>
    </dgm:pt>
    <dgm:pt modelId="{333921D0-F92B-48D4-A672-57A48432183A}" type="pres">
      <dgm:prSet presAssocID="{42AD1FC9-77FE-4387-A75C-E3CF0B231F02}" presName="rootText" presStyleLbl="node2" presStyleIdx="1" presStyleCnt="2" custLinFactNeighborX="484" custLinFactNeighborY="181">
        <dgm:presLayoutVars>
          <dgm:chPref val="3"/>
        </dgm:presLayoutVars>
      </dgm:prSet>
      <dgm:spPr/>
    </dgm:pt>
    <dgm:pt modelId="{FB654764-8064-43A0-A1CD-940E401DC9A0}" type="pres">
      <dgm:prSet presAssocID="{42AD1FC9-77FE-4387-A75C-E3CF0B231F02}" presName="rootConnector" presStyleLbl="node2" presStyleIdx="1" presStyleCnt="2"/>
      <dgm:spPr/>
    </dgm:pt>
    <dgm:pt modelId="{8DBB4DFC-B2F5-4695-BDF7-77A45716B3C6}" type="pres">
      <dgm:prSet presAssocID="{42AD1FC9-77FE-4387-A75C-E3CF0B231F02}" presName="hierChild4" presStyleCnt="0"/>
      <dgm:spPr/>
    </dgm:pt>
    <dgm:pt modelId="{EDC18C52-5FAE-441C-A2B3-200E7F761D0E}" type="pres">
      <dgm:prSet presAssocID="{888918CB-400B-4809-A853-D61BB98CB2A8}" presName="Name64" presStyleLbl="parChTrans1D3" presStyleIdx="0" presStyleCnt="1"/>
      <dgm:spPr/>
    </dgm:pt>
    <dgm:pt modelId="{9E09C741-ED01-4FBA-A753-4108F8086AA9}" type="pres">
      <dgm:prSet presAssocID="{1EBA79C9-FE84-4D64-A55C-86230ED5AFA0}" presName="hierRoot2" presStyleCnt="0">
        <dgm:presLayoutVars>
          <dgm:hierBranch val="init"/>
        </dgm:presLayoutVars>
      </dgm:prSet>
      <dgm:spPr/>
    </dgm:pt>
    <dgm:pt modelId="{D4AD3F08-432B-4A01-92D1-AD6F236CF2F4}" type="pres">
      <dgm:prSet presAssocID="{1EBA79C9-FE84-4D64-A55C-86230ED5AFA0}" presName="rootComposite" presStyleCnt="0"/>
      <dgm:spPr/>
    </dgm:pt>
    <dgm:pt modelId="{F374B6F7-57E4-43B4-845C-762FC39C5E9D}" type="pres">
      <dgm:prSet presAssocID="{1EBA79C9-FE84-4D64-A55C-86230ED5AFA0}" presName="rootText" presStyleLbl="node3" presStyleIdx="0" presStyleCnt="1" custLinFactNeighborX="484" custLinFactNeighborY="181">
        <dgm:presLayoutVars>
          <dgm:chPref val="3"/>
        </dgm:presLayoutVars>
      </dgm:prSet>
      <dgm:spPr/>
    </dgm:pt>
    <dgm:pt modelId="{567E610D-B091-4C8B-9466-628EEBD340D6}" type="pres">
      <dgm:prSet presAssocID="{1EBA79C9-FE84-4D64-A55C-86230ED5AFA0}" presName="rootConnector" presStyleLbl="node3" presStyleIdx="0" presStyleCnt="1"/>
      <dgm:spPr/>
    </dgm:pt>
    <dgm:pt modelId="{737BCE6D-3908-4D53-9D51-BBD1183F5298}" type="pres">
      <dgm:prSet presAssocID="{1EBA79C9-FE84-4D64-A55C-86230ED5AFA0}" presName="hierChild4" presStyleCnt="0"/>
      <dgm:spPr/>
    </dgm:pt>
    <dgm:pt modelId="{9D0FE14B-5DE2-44D6-B640-4B5B3B6DF500}" type="pres">
      <dgm:prSet presAssocID="{DADBB573-D19D-46E1-9ECC-DA94D4C55E25}" presName="Name64" presStyleLbl="parChTrans1D4" presStyleIdx="0" presStyleCnt="5"/>
      <dgm:spPr/>
    </dgm:pt>
    <dgm:pt modelId="{0A6D756A-9ACE-407D-A13A-EEC294BADEB3}" type="pres">
      <dgm:prSet presAssocID="{E83FEC49-5C56-4123-8DBE-443197A89A9F}" presName="hierRoot2" presStyleCnt="0">
        <dgm:presLayoutVars>
          <dgm:hierBranch val="init"/>
        </dgm:presLayoutVars>
      </dgm:prSet>
      <dgm:spPr/>
    </dgm:pt>
    <dgm:pt modelId="{25170A33-C578-4D52-8322-586FDEC03778}" type="pres">
      <dgm:prSet presAssocID="{E83FEC49-5C56-4123-8DBE-443197A89A9F}" presName="rootComposite" presStyleCnt="0"/>
      <dgm:spPr/>
    </dgm:pt>
    <dgm:pt modelId="{7D835092-DB8F-4A66-80E6-490B6CBB4A96}" type="pres">
      <dgm:prSet presAssocID="{E83FEC49-5C56-4123-8DBE-443197A89A9F}" presName="rootText" presStyleLbl="node4" presStyleIdx="0" presStyleCnt="5" custLinFactNeighborX="622" custLinFactNeighborY="-6076">
        <dgm:presLayoutVars>
          <dgm:chPref val="3"/>
        </dgm:presLayoutVars>
      </dgm:prSet>
      <dgm:spPr/>
    </dgm:pt>
    <dgm:pt modelId="{CF8253EC-EC8E-4BEE-84F5-6FB4B4D6EC6C}" type="pres">
      <dgm:prSet presAssocID="{E83FEC49-5C56-4123-8DBE-443197A89A9F}" presName="rootConnector" presStyleLbl="node4" presStyleIdx="0" presStyleCnt="5"/>
      <dgm:spPr/>
    </dgm:pt>
    <dgm:pt modelId="{89FB304B-DB0C-47A5-BF1B-1F1BC24D54AB}" type="pres">
      <dgm:prSet presAssocID="{E83FEC49-5C56-4123-8DBE-443197A89A9F}" presName="hierChild4" presStyleCnt="0"/>
      <dgm:spPr/>
    </dgm:pt>
    <dgm:pt modelId="{E975AD35-A7C4-42CE-A9F3-16CB434EC3F0}" type="pres">
      <dgm:prSet presAssocID="{F8EA91A5-26C0-4111-8F82-C6394439F39E}" presName="Name64" presStyleLbl="parChTrans1D4" presStyleIdx="1" presStyleCnt="5"/>
      <dgm:spPr/>
    </dgm:pt>
    <dgm:pt modelId="{F8E9B268-C39F-492A-84D5-A29A6FA2740A}" type="pres">
      <dgm:prSet presAssocID="{D0842C1C-849C-42AD-8540-E0F8F7802B8F}" presName="hierRoot2" presStyleCnt="0">
        <dgm:presLayoutVars>
          <dgm:hierBranch val="init"/>
        </dgm:presLayoutVars>
      </dgm:prSet>
      <dgm:spPr/>
    </dgm:pt>
    <dgm:pt modelId="{BB697147-D77D-48B6-8D00-352308E647D2}" type="pres">
      <dgm:prSet presAssocID="{D0842C1C-849C-42AD-8540-E0F8F7802B8F}" presName="rootComposite" presStyleCnt="0"/>
      <dgm:spPr/>
    </dgm:pt>
    <dgm:pt modelId="{135E285F-F2FF-493A-8415-DD7584B21EDD}" type="pres">
      <dgm:prSet presAssocID="{D0842C1C-849C-42AD-8540-E0F8F7802B8F}" presName="rootText" presStyleLbl="node4" presStyleIdx="1" presStyleCnt="5">
        <dgm:presLayoutVars>
          <dgm:chPref val="3"/>
        </dgm:presLayoutVars>
      </dgm:prSet>
      <dgm:spPr/>
    </dgm:pt>
    <dgm:pt modelId="{79D1FBEF-5340-4A69-A905-5BCEF23CA71E}" type="pres">
      <dgm:prSet presAssocID="{D0842C1C-849C-42AD-8540-E0F8F7802B8F}" presName="rootConnector" presStyleLbl="node4" presStyleIdx="1" presStyleCnt="5"/>
      <dgm:spPr/>
    </dgm:pt>
    <dgm:pt modelId="{423589BE-6CCD-423F-8126-7012FF853FD0}" type="pres">
      <dgm:prSet presAssocID="{D0842C1C-849C-42AD-8540-E0F8F7802B8F}" presName="hierChild4" presStyleCnt="0"/>
      <dgm:spPr/>
    </dgm:pt>
    <dgm:pt modelId="{F58D02EC-0E33-4724-8F82-50CC25195779}" type="pres">
      <dgm:prSet presAssocID="{D0842C1C-849C-42AD-8540-E0F8F7802B8F}" presName="hierChild5" presStyleCnt="0"/>
      <dgm:spPr/>
    </dgm:pt>
    <dgm:pt modelId="{F3349B55-40C5-40DB-B03F-C6A332D53F33}" type="pres">
      <dgm:prSet presAssocID="{BF96DFA0-2A04-49F7-A46E-0C3307A546B5}" presName="Name64" presStyleLbl="parChTrans1D4" presStyleIdx="2" presStyleCnt="5"/>
      <dgm:spPr/>
    </dgm:pt>
    <dgm:pt modelId="{71D1C8CA-2A53-455A-89F9-56D9D07C77E3}" type="pres">
      <dgm:prSet presAssocID="{9A3408B0-6686-475C-A5C5-E12900EA075F}" presName="hierRoot2" presStyleCnt="0">
        <dgm:presLayoutVars>
          <dgm:hierBranch val="init"/>
        </dgm:presLayoutVars>
      </dgm:prSet>
      <dgm:spPr/>
    </dgm:pt>
    <dgm:pt modelId="{72CB91B9-DF2F-447A-9659-D4F3C7F6D283}" type="pres">
      <dgm:prSet presAssocID="{9A3408B0-6686-475C-A5C5-E12900EA075F}" presName="rootComposite" presStyleCnt="0"/>
      <dgm:spPr/>
    </dgm:pt>
    <dgm:pt modelId="{BCDFCB1B-4596-448B-BD49-AB9DA6A16689}" type="pres">
      <dgm:prSet presAssocID="{9A3408B0-6686-475C-A5C5-E12900EA075F}" presName="rootText" presStyleLbl="node4" presStyleIdx="2" presStyleCnt="5">
        <dgm:presLayoutVars>
          <dgm:chPref val="3"/>
        </dgm:presLayoutVars>
      </dgm:prSet>
      <dgm:spPr/>
    </dgm:pt>
    <dgm:pt modelId="{EBA7B678-CCB9-4F86-B250-EAD60E05754C}" type="pres">
      <dgm:prSet presAssocID="{9A3408B0-6686-475C-A5C5-E12900EA075F}" presName="rootConnector" presStyleLbl="node4" presStyleIdx="2" presStyleCnt="5"/>
      <dgm:spPr/>
    </dgm:pt>
    <dgm:pt modelId="{C8EB7540-EF7D-4332-A8AE-94DEE0C7A4ED}" type="pres">
      <dgm:prSet presAssocID="{9A3408B0-6686-475C-A5C5-E12900EA075F}" presName="hierChild4" presStyleCnt="0"/>
      <dgm:spPr/>
    </dgm:pt>
    <dgm:pt modelId="{6DEEEE1C-3418-4E20-B687-F518D35BD90B}" type="pres">
      <dgm:prSet presAssocID="{9A3408B0-6686-475C-A5C5-E12900EA075F}" presName="hierChild5" presStyleCnt="0"/>
      <dgm:spPr/>
    </dgm:pt>
    <dgm:pt modelId="{7FDA3D75-1C8F-4EBC-A673-3055E7FF80E7}" type="pres">
      <dgm:prSet presAssocID="{E83FEC49-5C56-4123-8DBE-443197A89A9F}" presName="hierChild5" presStyleCnt="0"/>
      <dgm:spPr/>
    </dgm:pt>
    <dgm:pt modelId="{C1627445-2A9E-4D02-B58B-9A0DFEB09874}" type="pres">
      <dgm:prSet presAssocID="{02D1AFC2-DE4D-4152-B515-BB25072A19EA}" presName="Name64" presStyleLbl="parChTrans1D4" presStyleIdx="3" presStyleCnt="5"/>
      <dgm:spPr/>
    </dgm:pt>
    <dgm:pt modelId="{267630AD-480E-4126-A67B-0793F7944B47}" type="pres">
      <dgm:prSet presAssocID="{1E861B27-A6C2-44AC-8D80-8DAB2CA620A6}" presName="hierRoot2" presStyleCnt="0">
        <dgm:presLayoutVars>
          <dgm:hierBranch val="init"/>
        </dgm:presLayoutVars>
      </dgm:prSet>
      <dgm:spPr/>
    </dgm:pt>
    <dgm:pt modelId="{A022D6A1-B6FE-4C12-B2C3-1026D9AB5247}" type="pres">
      <dgm:prSet presAssocID="{1E861B27-A6C2-44AC-8D80-8DAB2CA620A6}" presName="rootComposite" presStyleCnt="0"/>
      <dgm:spPr/>
    </dgm:pt>
    <dgm:pt modelId="{57E3D43C-8681-4154-AE34-2BE29C035DB4}" type="pres">
      <dgm:prSet presAssocID="{1E861B27-A6C2-44AC-8D80-8DAB2CA620A6}" presName="rootText" presStyleLbl="node4" presStyleIdx="3" presStyleCnt="5">
        <dgm:presLayoutVars>
          <dgm:chPref val="3"/>
        </dgm:presLayoutVars>
      </dgm:prSet>
      <dgm:spPr/>
    </dgm:pt>
    <dgm:pt modelId="{8A6279A8-F9B1-4563-84C5-E00BD473B713}" type="pres">
      <dgm:prSet presAssocID="{1E861B27-A6C2-44AC-8D80-8DAB2CA620A6}" presName="rootConnector" presStyleLbl="node4" presStyleIdx="3" presStyleCnt="5"/>
      <dgm:spPr/>
    </dgm:pt>
    <dgm:pt modelId="{BC58A82F-184A-47A7-AB51-15C7BF74AFBE}" type="pres">
      <dgm:prSet presAssocID="{1E861B27-A6C2-44AC-8D80-8DAB2CA620A6}" presName="hierChild4" presStyleCnt="0"/>
      <dgm:spPr/>
    </dgm:pt>
    <dgm:pt modelId="{637029ED-004A-47AA-BAD3-7E757519BAEA}" type="pres">
      <dgm:prSet presAssocID="{D41997C1-8620-45C5-8CCE-0438C00F20B5}" presName="Name64" presStyleLbl="parChTrans1D4" presStyleIdx="4" presStyleCnt="5"/>
      <dgm:spPr/>
    </dgm:pt>
    <dgm:pt modelId="{2BC362C9-489A-46ED-B51F-989A94825997}" type="pres">
      <dgm:prSet presAssocID="{B711DE2F-6207-4A79-B68D-A99E5DFF150D}" presName="hierRoot2" presStyleCnt="0">
        <dgm:presLayoutVars>
          <dgm:hierBranch val="init"/>
        </dgm:presLayoutVars>
      </dgm:prSet>
      <dgm:spPr/>
    </dgm:pt>
    <dgm:pt modelId="{AC28B35B-997B-48B6-A3CB-830726D3677E}" type="pres">
      <dgm:prSet presAssocID="{B711DE2F-6207-4A79-B68D-A99E5DFF150D}" presName="rootComposite" presStyleCnt="0"/>
      <dgm:spPr/>
    </dgm:pt>
    <dgm:pt modelId="{96CB12D1-B7CD-47F8-BD25-E80EE9C0D6AC}" type="pres">
      <dgm:prSet presAssocID="{B711DE2F-6207-4A79-B68D-A99E5DFF150D}" presName="rootText" presStyleLbl="node4" presStyleIdx="4" presStyleCnt="5">
        <dgm:presLayoutVars>
          <dgm:chPref val="3"/>
        </dgm:presLayoutVars>
      </dgm:prSet>
      <dgm:spPr/>
    </dgm:pt>
    <dgm:pt modelId="{1B28F1D7-78D0-4E00-B57F-EFAF3444BC43}" type="pres">
      <dgm:prSet presAssocID="{B711DE2F-6207-4A79-B68D-A99E5DFF150D}" presName="rootConnector" presStyleLbl="node4" presStyleIdx="4" presStyleCnt="5"/>
      <dgm:spPr/>
    </dgm:pt>
    <dgm:pt modelId="{FBB5C3AD-8BF9-41BE-932C-03AC4826A9C3}" type="pres">
      <dgm:prSet presAssocID="{B711DE2F-6207-4A79-B68D-A99E5DFF150D}" presName="hierChild4" presStyleCnt="0"/>
      <dgm:spPr/>
    </dgm:pt>
    <dgm:pt modelId="{358E5B67-BE97-493A-962B-BF2963CAE1EC}" type="pres">
      <dgm:prSet presAssocID="{B711DE2F-6207-4A79-B68D-A99E5DFF150D}" presName="hierChild5" presStyleCnt="0"/>
      <dgm:spPr/>
    </dgm:pt>
    <dgm:pt modelId="{5009A9F6-809A-47E8-97B0-83705CD549CA}" type="pres">
      <dgm:prSet presAssocID="{1E861B27-A6C2-44AC-8D80-8DAB2CA620A6}" presName="hierChild5" presStyleCnt="0"/>
      <dgm:spPr/>
    </dgm:pt>
    <dgm:pt modelId="{3435646A-8C92-4920-97C3-6180B4CECA82}" type="pres">
      <dgm:prSet presAssocID="{1EBA79C9-FE84-4D64-A55C-86230ED5AFA0}" presName="hierChild5" presStyleCnt="0"/>
      <dgm:spPr/>
    </dgm:pt>
    <dgm:pt modelId="{4FCEDC41-202C-41D8-9E1D-D0004B80F474}" type="pres">
      <dgm:prSet presAssocID="{42AD1FC9-77FE-4387-A75C-E3CF0B231F02}" presName="hierChild5" presStyleCnt="0"/>
      <dgm:spPr/>
    </dgm:pt>
    <dgm:pt modelId="{9921F939-0E95-4DF5-AFEE-830CFCC45E14}" type="pres">
      <dgm:prSet presAssocID="{06EDCF3E-DF83-4951-8661-6C887E391F7D}" presName="hierChild3" presStyleCnt="0"/>
      <dgm:spPr/>
    </dgm:pt>
  </dgm:ptLst>
  <dgm:cxnLst>
    <dgm:cxn modelId="{6A186C0D-1675-42D8-A941-B5D447902EF6}" srcId="{06EDCF3E-DF83-4951-8661-6C887E391F7D}" destId="{42AD1FC9-77FE-4387-A75C-E3CF0B231F02}" srcOrd="1" destOrd="0" parTransId="{C8D9F544-A8F4-48E1-93E4-DDDBDBE0568B}" sibTransId="{E25FA2FA-CD48-4AD9-B660-4B6E9C365808}"/>
    <dgm:cxn modelId="{9294E613-0696-43BA-BC8D-A8E24A297EF8}" type="presOf" srcId="{92841C49-D88C-4E99-A989-12B3A75FCEE9}" destId="{3F86D51C-D966-40EF-A5E7-C582A5011EC6}" srcOrd="1" destOrd="0" presId="urn:microsoft.com/office/officeart/2009/3/layout/HorizontalOrganizationChart"/>
    <dgm:cxn modelId="{B14E001A-BA8A-421C-9C1E-70137128B5E6}" type="presOf" srcId="{B711DE2F-6207-4A79-B68D-A99E5DFF150D}" destId="{1B28F1D7-78D0-4E00-B57F-EFAF3444BC43}" srcOrd="1" destOrd="0" presId="urn:microsoft.com/office/officeart/2009/3/layout/HorizontalOrganizationChart"/>
    <dgm:cxn modelId="{2C32A21E-21DF-498B-A901-50E5FA9DC82F}" srcId="{E576DD4A-FC0C-45E0-ABEF-C070A8939E85}" destId="{06EDCF3E-DF83-4951-8661-6C887E391F7D}" srcOrd="0" destOrd="0" parTransId="{F7423E18-8091-4013-9F2B-4076BF34E40B}" sibTransId="{DBCEE24A-85AC-46D8-A5B5-95E90BAF31AC}"/>
    <dgm:cxn modelId="{4B313726-4975-42D8-866D-E2CCFF30F612}" type="presOf" srcId="{1EBA79C9-FE84-4D64-A55C-86230ED5AFA0}" destId="{F374B6F7-57E4-43B4-845C-762FC39C5E9D}" srcOrd="0" destOrd="0" presId="urn:microsoft.com/office/officeart/2009/3/layout/HorizontalOrganizationChart"/>
    <dgm:cxn modelId="{A4C54C28-75A3-4C52-8212-61C9EE4A1A22}" type="presOf" srcId="{06EDCF3E-DF83-4951-8661-6C887E391F7D}" destId="{8D1C9CDB-1460-4F2B-997F-6CA34E2B77A1}" srcOrd="0" destOrd="0" presId="urn:microsoft.com/office/officeart/2009/3/layout/HorizontalOrganizationChart"/>
    <dgm:cxn modelId="{43A5F52D-F4F9-4EFE-BE34-61A450308480}" type="presOf" srcId="{D0842C1C-849C-42AD-8540-E0F8F7802B8F}" destId="{79D1FBEF-5340-4A69-A905-5BCEF23CA71E}" srcOrd="1" destOrd="0" presId="urn:microsoft.com/office/officeart/2009/3/layout/HorizontalOrganizationChart"/>
    <dgm:cxn modelId="{ECA7FD32-573D-46B5-872A-F83E224E3D7F}" type="presOf" srcId="{92841C49-D88C-4E99-A989-12B3A75FCEE9}" destId="{83CD67A1-C11F-4E4A-9AC5-BAAE37E8CFEA}" srcOrd="0" destOrd="0" presId="urn:microsoft.com/office/officeart/2009/3/layout/HorizontalOrganizationChart"/>
    <dgm:cxn modelId="{313FE261-8802-4CED-BCAA-72671E223D64}" srcId="{1E861B27-A6C2-44AC-8D80-8DAB2CA620A6}" destId="{B711DE2F-6207-4A79-B68D-A99E5DFF150D}" srcOrd="0" destOrd="0" parTransId="{D41997C1-8620-45C5-8CCE-0438C00F20B5}" sibTransId="{86B10585-5494-453B-8C16-5DC2DEC6F3D9}"/>
    <dgm:cxn modelId="{99AE8B63-24CC-48AA-B88E-FA3868441607}" type="presOf" srcId="{E576DD4A-FC0C-45E0-ABEF-C070A8939E85}" destId="{3CDE789E-F19A-444E-B3FE-DEE9881ED12D}" srcOrd="0" destOrd="0" presId="urn:microsoft.com/office/officeart/2009/3/layout/HorizontalOrganizationChart"/>
    <dgm:cxn modelId="{673CB543-5D52-453B-ACD8-EB55BCF36942}" srcId="{E83FEC49-5C56-4123-8DBE-443197A89A9F}" destId="{D0842C1C-849C-42AD-8540-E0F8F7802B8F}" srcOrd="0" destOrd="0" parTransId="{F8EA91A5-26C0-4111-8F82-C6394439F39E}" sibTransId="{A7CBB2D1-C33A-4132-A2B4-3A75E0B16D91}"/>
    <dgm:cxn modelId="{7B47C146-74A7-4061-ADE1-4C18CF72789D}" type="presOf" srcId="{BF96DFA0-2A04-49F7-A46E-0C3307A546B5}" destId="{F3349B55-40C5-40DB-B03F-C6A332D53F33}" srcOrd="0" destOrd="0" presId="urn:microsoft.com/office/officeart/2009/3/layout/HorizontalOrganizationChart"/>
    <dgm:cxn modelId="{005D3E4E-50B6-4F93-85E5-87482466F348}" type="presOf" srcId="{1EBA79C9-FE84-4D64-A55C-86230ED5AFA0}" destId="{567E610D-B091-4C8B-9466-628EEBD340D6}" srcOrd="1" destOrd="0" presId="urn:microsoft.com/office/officeart/2009/3/layout/HorizontalOrganizationChart"/>
    <dgm:cxn modelId="{70D0426F-4183-4BF9-898E-F97BC17A9A5D}" srcId="{1EBA79C9-FE84-4D64-A55C-86230ED5AFA0}" destId="{1E861B27-A6C2-44AC-8D80-8DAB2CA620A6}" srcOrd="1" destOrd="0" parTransId="{02D1AFC2-DE4D-4152-B515-BB25072A19EA}" sibTransId="{DE0CEF1E-9218-45C0-A11B-08DF83A75EDE}"/>
    <dgm:cxn modelId="{5BCE7E53-B147-4299-871B-CE033E8CBE43}" type="presOf" srcId="{C8D9F544-A8F4-48E1-93E4-DDDBDBE0568B}" destId="{67611A72-995D-4025-B5D4-C885C138341A}" srcOrd="0" destOrd="0" presId="urn:microsoft.com/office/officeart/2009/3/layout/HorizontalOrganizationChart"/>
    <dgm:cxn modelId="{DB0BA156-9B3B-4B00-A26B-0DE24414AA0A}" type="presOf" srcId="{1E861B27-A6C2-44AC-8D80-8DAB2CA620A6}" destId="{57E3D43C-8681-4154-AE34-2BE29C035DB4}" srcOrd="0" destOrd="0" presId="urn:microsoft.com/office/officeart/2009/3/layout/HorizontalOrganizationChart"/>
    <dgm:cxn modelId="{90E2E357-D0C7-4797-A263-52B83CABD1C1}" type="presOf" srcId="{9A3408B0-6686-475C-A5C5-E12900EA075F}" destId="{EBA7B678-CCB9-4F86-B250-EAD60E05754C}" srcOrd="1" destOrd="0" presId="urn:microsoft.com/office/officeart/2009/3/layout/HorizontalOrganizationChart"/>
    <dgm:cxn modelId="{15804E78-D115-4D9C-8CB6-25EE8CE738FD}" type="presOf" srcId="{F8EA91A5-26C0-4111-8F82-C6394439F39E}" destId="{E975AD35-A7C4-42CE-A9F3-16CB434EC3F0}" srcOrd="0" destOrd="0" presId="urn:microsoft.com/office/officeart/2009/3/layout/HorizontalOrganizationChart"/>
    <dgm:cxn modelId="{5A304584-BC8F-4FC6-BF46-91ED78491372}" type="presOf" srcId="{888918CB-400B-4809-A853-D61BB98CB2A8}" destId="{EDC18C52-5FAE-441C-A2B3-200E7F761D0E}" srcOrd="0" destOrd="0" presId="urn:microsoft.com/office/officeart/2009/3/layout/HorizontalOrganizationChart"/>
    <dgm:cxn modelId="{7C8B8788-9E4A-4D64-8C55-15A7569D9A12}" type="presOf" srcId="{42AD1FC9-77FE-4387-A75C-E3CF0B231F02}" destId="{333921D0-F92B-48D4-A672-57A48432183A}" srcOrd="0" destOrd="0" presId="urn:microsoft.com/office/officeart/2009/3/layout/HorizontalOrganizationChart"/>
    <dgm:cxn modelId="{18C7548A-2796-4DE1-A824-954DACA63D25}" type="presOf" srcId="{1E861B27-A6C2-44AC-8D80-8DAB2CA620A6}" destId="{8A6279A8-F9B1-4563-84C5-E00BD473B713}" srcOrd="1" destOrd="0" presId="urn:microsoft.com/office/officeart/2009/3/layout/HorizontalOrganizationChart"/>
    <dgm:cxn modelId="{D3C3838D-53DD-409F-89FF-2A2E276527AC}" type="presOf" srcId="{E83FEC49-5C56-4123-8DBE-443197A89A9F}" destId="{7D835092-DB8F-4A66-80E6-490B6CBB4A96}" srcOrd="0" destOrd="0" presId="urn:microsoft.com/office/officeart/2009/3/layout/HorizontalOrganizationChart"/>
    <dgm:cxn modelId="{F3D35495-5DB4-4FE1-A5E1-7819606BCAE7}" srcId="{42AD1FC9-77FE-4387-A75C-E3CF0B231F02}" destId="{1EBA79C9-FE84-4D64-A55C-86230ED5AFA0}" srcOrd="0" destOrd="0" parTransId="{888918CB-400B-4809-A853-D61BB98CB2A8}" sibTransId="{4282F4D9-6CF1-4608-98B0-C6677B5FBD3D}"/>
    <dgm:cxn modelId="{156D5F98-358A-4FB3-B6C6-AD6B58D05269}" srcId="{1EBA79C9-FE84-4D64-A55C-86230ED5AFA0}" destId="{E83FEC49-5C56-4123-8DBE-443197A89A9F}" srcOrd="0" destOrd="0" parTransId="{DADBB573-D19D-46E1-9ECC-DA94D4C55E25}" sibTransId="{A7F075FF-9EA2-45CA-9A9D-8D4931C07789}"/>
    <dgm:cxn modelId="{9DE72B9D-D8A9-49FE-8C92-CF3AF44E70EB}" type="presOf" srcId="{9A3408B0-6686-475C-A5C5-E12900EA075F}" destId="{BCDFCB1B-4596-448B-BD49-AB9DA6A16689}" srcOrd="0" destOrd="0" presId="urn:microsoft.com/office/officeart/2009/3/layout/HorizontalOrganizationChart"/>
    <dgm:cxn modelId="{DBBB61AD-1BFE-4582-83B7-1B9571756982}" type="presOf" srcId="{06EDCF3E-DF83-4951-8661-6C887E391F7D}" destId="{1A1FF1FD-D65F-43C4-A2D9-4CE54F2CBBE9}" srcOrd="1" destOrd="0" presId="urn:microsoft.com/office/officeart/2009/3/layout/HorizontalOrganizationChart"/>
    <dgm:cxn modelId="{BCCDD9B0-4C37-40AF-A0FB-219BA7DEBDCC}" type="presOf" srcId="{DADBB573-D19D-46E1-9ECC-DA94D4C55E25}" destId="{9D0FE14B-5DE2-44D6-B640-4B5B3B6DF500}" srcOrd="0" destOrd="0" presId="urn:microsoft.com/office/officeart/2009/3/layout/HorizontalOrganizationChart"/>
    <dgm:cxn modelId="{21C0CBBF-3760-47E1-985D-00556398F993}" srcId="{E83FEC49-5C56-4123-8DBE-443197A89A9F}" destId="{9A3408B0-6686-475C-A5C5-E12900EA075F}" srcOrd="1" destOrd="0" parTransId="{BF96DFA0-2A04-49F7-A46E-0C3307A546B5}" sibTransId="{3F534A69-4092-4671-90AE-A871B5522BB0}"/>
    <dgm:cxn modelId="{1A809CCC-52DE-49EA-99E3-00E1279A7468}" type="presOf" srcId="{A1123680-9CF2-4553-B73E-C2E6D0D89FB9}" destId="{27E6F27B-F777-4CF2-B46E-987B144773DA}" srcOrd="0" destOrd="0" presId="urn:microsoft.com/office/officeart/2009/3/layout/HorizontalOrganizationChart"/>
    <dgm:cxn modelId="{E7C0D4D6-F118-4B17-9DE1-4865DAA6E9E7}" type="presOf" srcId="{B711DE2F-6207-4A79-B68D-A99E5DFF150D}" destId="{96CB12D1-B7CD-47F8-BD25-E80EE9C0D6AC}" srcOrd="0" destOrd="0" presId="urn:microsoft.com/office/officeart/2009/3/layout/HorizontalOrganizationChart"/>
    <dgm:cxn modelId="{6C502DDE-FD61-498C-BF31-C9E84577974A}" type="presOf" srcId="{D41997C1-8620-45C5-8CCE-0438C00F20B5}" destId="{637029ED-004A-47AA-BAD3-7E757519BAEA}" srcOrd="0" destOrd="0" presId="urn:microsoft.com/office/officeart/2009/3/layout/HorizontalOrganizationChart"/>
    <dgm:cxn modelId="{14EB71DF-7EE3-48A1-8741-426F89F993A7}" type="presOf" srcId="{02D1AFC2-DE4D-4152-B515-BB25072A19EA}" destId="{C1627445-2A9E-4D02-B58B-9A0DFEB09874}" srcOrd="0" destOrd="0" presId="urn:microsoft.com/office/officeart/2009/3/layout/HorizontalOrganizationChart"/>
    <dgm:cxn modelId="{F6BC7BDF-3772-42FE-9B99-EFE66B56AB2F}" type="presOf" srcId="{D0842C1C-849C-42AD-8540-E0F8F7802B8F}" destId="{135E285F-F2FF-493A-8415-DD7584B21EDD}" srcOrd="0" destOrd="0" presId="urn:microsoft.com/office/officeart/2009/3/layout/HorizontalOrganizationChart"/>
    <dgm:cxn modelId="{04A798E2-D1C8-4548-9BC6-1418231F3942}" type="presOf" srcId="{42AD1FC9-77FE-4387-A75C-E3CF0B231F02}" destId="{FB654764-8064-43A0-A1CD-940E401DC9A0}" srcOrd="1" destOrd="0" presId="urn:microsoft.com/office/officeart/2009/3/layout/HorizontalOrganizationChart"/>
    <dgm:cxn modelId="{572F2BF5-2495-46F2-AFCC-2A6BE22F3951}" type="presOf" srcId="{E83FEC49-5C56-4123-8DBE-443197A89A9F}" destId="{CF8253EC-EC8E-4BEE-84F5-6FB4B4D6EC6C}" srcOrd="1" destOrd="0" presId="urn:microsoft.com/office/officeart/2009/3/layout/HorizontalOrganizationChart"/>
    <dgm:cxn modelId="{2B3B9AFA-7E7B-4B0D-A8DF-9932D4B0E296}" srcId="{06EDCF3E-DF83-4951-8661-6C887E391F7D}" destId="{92841C49-D88C-4E99-A989-12B3A75FCEE9}" srcOrd="0" destOrd="0" parTransId="{A1123680-9CF2-4553-B73E-C2E6D0D89FB9}" sibTransId="{1BB6AB40-C1F3-476E-BAF1-2D0E462643A7}"/>
    <dgm:cxn modelId="{F3CD80C1-4C77-4658-A906-5046EED124CF}" type="presParOf" srcId="{3CDE789E-F19A-444E-B3FE-DEE9881ED12D}" destId="{376563FE-E6A9-420D-8654-8CBAD48CD965}" srcOrd="0" destOrd="0" presId="urn:microsoft.com/office/officeart/2009/3/layout/HorizontalOrganizationChart"/>
    <dgm:cxn modelId="{2B0E7061-88B8-4DF4-B772-E33DFD3518AD}" type="presParOf" srcId="{376563FE-E6A9-420D-8654-8CBAD48CD965}" destId="{F8A3DF14-3B29-45AD-A6FB-154EE6AFB7BA}" srcOrd="0" destOrd="0" presId="urn:microsoft.com/office/officeart/2009/3/layout/HorizontalOrganizationChart"/>
    <dgm:cxn modelId="{22DA7A5D-0BB2-4A03-A634-7D19B1EFE201}" type="presParOf" srcId="{F8A3DF14-3B29-45AD-A6FB-154EE6AFB7BA}" destId="{8D1C9CDB-1460-4F2B-997F-6CA34E2B77A1}" srcOrd="0" destOrd="0" presId="urn:microsoft.com/office/officeart/2009/3/layout/HorizontalOrganizationChart"/>
    <dgm:cxn modelId="{529FE100-E54E-4FAD-B578-33F8CBAECDED}" type="presParOf" srcId="{F8A3DF14-3B29-45AD-A6FB-154EE6AFB7BA}" destId="{1A1FF1FD-D65F-43C4-A2D9-4CE54F2CBBE9}" srcOrd="1" destOrd="0" presId="urn:microsoft.com/office/officeart/2009/3/layout/HorizontalOrganizationChart"/>
    <dgm:cxn modelId="{9FA44E1A-22F2-4E3E-BFAD-439935D05771}" type="presParOf" srcId="{376563FE-E6A9-420D-8654-8CBAD48CD965}" destId="{A3775F14-8336-4A54-8B23-DB9F98DDF824}" srcOrd="1" destOrd="0" presId="urn:microsoft.com/office/officeart/2009/3/layout/HorizontalOrganizationChart"/>
    <dgm:cxn modelId="{8BD1B67E-FE23-490B-A084-54216D107814}" type="presParOf" srcId="{A3775F14-8336-4A54-8B23-DB9F98DDF824}" destId="{27E6F27B-F777-4CF2-B46E-987B144773DA}" srcOrd="0" destOrd="0" presId="urn:microsoft.com/office/officeart/2009/3/layout/HorizontalOrganizationChart"/>
    <dgm:cxn modelId="{C2524C86-DD5B-493D-9459-D07D0DAB6F56}" type="presParOf" srcId="{A3775F14-8336-4A54-8B23-DB9F98DDF824}" destId="{0A6D3CCA-D97D-4898-BCD1-9B5821814FDE}" srcOrd="1" destOrd="0" presId="urn:microsoft.com/office/officeart/2009/3/layout/HorizontalOrganizationChart"/>
    <dgm:cxn modelId="{685C3A66-E4FE-457B-9C55-B6A65CCF57B7}" type="presParOf" srcId="{0A6D3CCA-D97D-4898-BCD1-9B5821814FDE}" destId="{2EB68F86-5E50-4111-A10A-FA7A48CF3377}" srcOrd="0" destOrd="0" presId="urn:microsoft.com/office/officeart/2009/3/layout/HorizontalOrganizationChart"/>
    <dgm:cxn modelId="{1E58F1DD-2A8D-456E-AEA3-E2518AD126FA}" type="presParOf" srcId="{2EB68F86-5E50-4111-A10A-FA7A48CF3377}" destId="{83CD67A1-C11F-4E4A-9AC5-BAAE37E8CFEA}" srcOrd="0" destOrd="0" presId="urn:microsoft.com/office/officeart/2009/3/layout/HorizontalOrganizationChart"/>
    <dgm:cxn modelId="{560C17E5-3B8F-49E3-90DB-D130252204F7}" type="presParOf" srcId="{2EB68F86-5E50-4111-A10A-FA7A48CF3377}" destId="{3F86D51C-D966-40EF-A5E7-C582A5011EC6}" srcOrd="1" destOrd="0" presId="urn:microsoft.com/office/officeart/2009/3/layout/HorizontalOrganizationChart"/>
    <dgm:cxn modelId="{C7594D13-6BE6-46ED-B795-36FDEE99CD5B}" type="presParOf" srcId="{0A6D3CCA-D97D-4898-BCD1-9B5821814FDE}" destId="{7433D136-F98E-4BCE-984F-8E95A10188EE}" srcOrd="1" destOrd="0" presId="urn:microsoft.com/office/officeart/2009/3/layout/HorizontalOrganizationChart"/>
    <dgm:cxn modelId="{E0968E2F-3147-44AC-9FE5-A18EAB057EAF}" type="presParOf" srcId="{0A6D3CCA-D97D-4898-BCD1-9B5821814FDE}" destId="{50D365AE-D801-43A8-BBC6-38F5470DE60C}" srcOrd="2" destOrd="0" presId="urn:microsoft.com/office/officeart/2009/3/layout/HorizontalOrganizationChart"/>
    <dgm:cxn modelId="{62FA2D1C-A3AE-4976-8455-FD94FAE39664}" type="presParOf" srcId="{A3775F14-8336-4A54-8B23-DB9F98DDF824}" destId="{67611A72-995D-4025-B5D4-C885C138341A}" srcOrd="2" destOrd="0" presId="urn:microsoft.com/office/officeart/2009/3/layout/HorizontalOrganizationChart"/>
    <dgm:cxn modelId="{3EE848D6-5BFC-4F6F-8C60-CD1B30237DA1}" type="presParOf" srcId="{A3775F14-8336-4A54-8B23-DB9F98DDF824}" destId="{3FBC8892-45D4-461F-922C-0EF2C27DBA73}" srcOrd="3" destOrd="0" presId="urn:microsoft.com/office/officeart/2009/3/layout/HorizontalOrganizationChart"/>
    <dgm:cxn modelId="{FAC55C19-0E90-4386-9833-59CD94FF3709}" type="presParOf" srcId="{3FBC8892-45D4-461F-922C-0EF2C27DBA73}" destId="{819D98D6-739A-4CED-AB13-C7052B2BA75A}" srcOrd="0" destOrd="0" presId="urn:microsoft.com/office/officeart/2009/3/layout/HorizontalOrganizationChart"/>
    <dgm:cxn modelId="{97AA8311-07C5-4D0B-B015-E726709FF3D5}" type="presParOf" srcId="{819D98D6-739A-4CED-AB13-C7052B2BA75A}" destId="{333921D0-F92B-48D4-A672-57A48432183A}" srcOrd="0" destOrd="0" presId="urn:microsoft.com/office/officeart/2009/3/layout/HorizontalOrganizationChart"/>
    <dgm:cxn modelId="{58F3B043-24C3-4510-AD95-208089960B2B}" type="presParOf" srcId="{819D98D6-739A-4CED-AB13-C7052B2BA75A}" destId="{FB654764-8064-43A0-A1CD-940E401DC9A0}" srcOrd="1" destOrd="0" presId="urn:microsoft.com/office/officeart/2009/3/layout/HorizontalOrganizationChart"/>
    <dgm:cxn modelId="{3AE6A873-7647-431F-9895-11EAFDE7477D}" type="presParOf" srcId="{3FBC8892-45D4-461F-922C-0EF2C27DBA73}" destId="{8DBB4DFC-B2F5-4695-BDF7-77A45716B3C6}" srcOrd="1" destOrd="0" presId="urn:microsoft.com/office/officeart/2009/3/layout/HorizontalOrganizationChart"/>
    <dgm:cxn modelId="{08C1F5C9-5CEA-4242-AE31-58112C1314BE}" type="presParOf" srcId="{8DBB4DFC-B2F5-4695-BDF7-77A45716B3C6}" destId="{EDC18C52-5FAE-441C-A2B3-200E7F761D0E}" srcOrd="0" destOrd="0" presId="urn:microsoft.com/office/officeart/2009/3/layout/HorizontalOrganizationChart"/>
    <dgm:cxn modelId="{563386CF-EC72-46B6-8AB3-3DB5CE616D5B}" type="presParOf" srcId="{8DBB4DFC-B2F5-4695-BDF7-77A45716B3C6}" destId="{9E09C741-ED01-4FBA-A753-4108F8086AA9}" srcOrd="1" destOrd="0" presId="urn:microsoft.com/office/officeart/2009/3/layout/HorizontalOrganizationChart"/>
    <dgm:cxn modelId="{9268483D-16D4-40AD-A50E-CF0C0B1F5A34}" type="presParOf" srcId="{9E09C741-ED01-4FBA-A753-4108F8086AA9}" destId="{D4AD3F08-432B-4A01-92D1-AD6F236CF2F4}" srcOrd="0" destOrd="0" presId="urn:microsoft.com/office/officeart/2009/3/layout/HorizontalOrganizationChart"/>
    <dgm:cxn modelId="{C1CDBA20-1C1B-463F-9220-EF852C587C44}" type="presParOf" srcId="{D4AD3F08-432B-4A01-92D1-AD6F236CF2F4}" destId="{F374B6F7-57E4-43B4-845C-762FC39C5E9D}" srcOrd="0" destOrd="0" presId="urn:microsoft.com/office/officeart/2009/3/layout/HorizontalOrganizationChart"/>
    <dgm:cxn modelId="{52D0FE18-0A39-4D6C-94CC-6443F0019ECD}" type="presParOf" srcId="{D4AD3F08-432B-4A01-92D1-AD6F236CF2F4}" destId="{567E610D-B091-4C8B-9466-628EEBD340D6}" srcOrd="1" destOrd="0" presId="urn:microsoft.com/office/officeart/2009/3/layout/HorizontalOrganizationChart"/>
    <dgm:cxn modelId="{6297C00E-A4AE-492D-BCB5-C150AE50CB5F}" type="presParOf" srcId="{9E09C741-ED01-4FBA-A753-4108F8086AA9}" destId="{737BCE6D-3908-4D53-9D51-BBD1183F5298}" srcOrd="1" destOrd="0" presId="urn:microsoft.com/office/officeart/2009/3/layout/HorizontalOrganizationChart"/>
    <dgm:cxn modelId="{ADE371D4-9DCC-45FD-808B-3C1FF59CC36C}" type="presParOf" srcId="{737BCE6D-3908-4D53-9D51-BBD1183F5298}" destId="{9D0FE14B-5DE2-44D6-B640-4B5B3B6DF500}" srcOrd="0" destOrd="0" presId="urn:microsoft.com/office/officeart/2009/3/layout/HorizontalOrganizationChart"/>
    <dgm:cxn modelId="{0FC0DBE5-3319-4C71-8FC3-CE0787F7A7C7}" type="presParOf" srcId="{737BCE6D-3908-4D53-9D51-BBD1183F5298}" destId="{0A6D756A-9ACE-407D-A13A-EEC294BADEB3}" srcOrd="1" destOrd="0" presId="urn:microsoft.com/office/officeart/2009/3/layout/HorizontalOrganizationChart"/>
    <dgm:cxn modelId="{DC319014-6D9D-49E6-881D-35782C808808}" type="presParOf" srcId="{0A6D756A-9ACE-407D-A13A-EEC294BADEB3}" destId="{25170A33-C578-4D52-8322-586FDEC03778}" srcOrd="0" destOrd="0" presId="urn:microsoft.com/office/officeart/2009/3/layout/HorizontalOrganizationChart"/>
    <dgm:cxn modelId="{17B67429-A757-4FB0-BB00-02AE06D7BAF2}" type="presParOf" srcId="{25170A33-C578-4D52-8322-586FDEC03778}" destId="{7D835092-DB8F-4A66-80E6-490B6CBB4A96}" srcOrd="0" destOrd="0" presId="urn:microsoft.com/office/officeart/2009/3/layout/HorizontalOrganizationChart"/>
    <dgm:cxn modelId="{69942870-F127-461A-B4BF-F81B31D5BA4C}" type="presParOf" srcId="{25170A33-C578-4D52-8322-586FDEC03778}" destId="{CF8253EC-EC8E-4BEE-84F5-6FB4B4D6EC6C}" srcOrd="1" destOrd="0" presId="urn:microsoft.com/office/officeart/2009/3/layout/HorizontalOrganizationChart"/>
    <dgm:cxn modelId="{C3ED706B-519A-4431-BB65-7B0688AFD308}" type="presParOf" srcId="{0A6D756A-9ACE-407D-A13A-EEC294BADEB3}" destId="{89FB304B-DB0C-47A5-BF1B-1F1BC24D54AB}" srcOrd="1" destOrd="0" presId="urn:microsoft.com/office/officeart/2009/3/layout/HorizontalOrganizationChart"/>
    <dgm:cxn modelId="{FB4705D0-EC66-455E-AD9F-1C49DF1220E3}" type="presParOf" srcId="{89FB304B-DB0C-47A5-BF1B-1F1BC24D54AB}" destId="{E975AD35-A7C4-42CE-A9F3-16CB434EC3F0}" srcOrd="0" destOrd="0" presId="urn:microsoft.com/office/officeart/2009/3/layout/HorizontalOrganizationChart"/>
    <dgm:cxn modelId="{995C8C5D-5FE8-4AA4-BFD0-0E0F1D572940}" type="presParOf" srcId="{89FB304B-DB0C-47A5-BF1B-1F1BC24D54AB}" destId="{F8E9B268-C39F-492A-84D5-A29A6FA2740A}" srcOrd="1" destOrd="0" presId="urn:microsoft.com/office/officeart/2009/3/layout/HorizontalOrganizationChart"/>
    <dgm:cxn modelId="{445858D8-2B5D-4206-B520-75AF0CEB42EB}" type="presParOf" srcId="{F8E9B268-C39F-492A-84D5-A29A6FA2740A}" destId="{BB697147-D77D-48B6-8D00-352308E647D2}" srcOrd="0" destOrd="0" presId="urn:microsoft.com/office/officeart/2009/3/layout/HorizontalOrganizationChart"/>
    <dgm:cxn modelId="{62D9CAD8-2126-44B0-B5FE-7A506B8E3650}" type="presParOf" srcId="{BB697147-D77D-48B6-8D00-352308E647D2}" destId="{135E285F-F2FF-493A-8415-DD7584B21EDD}" srcOrd="0" destOrd="0" presId="urn:microsoft.com/office/officeart/2009/3/layout/HorizontalOrganizationChart"/>
    <dgm:cxn modelId="{1E22C3B1-42CB-4BC9-8BB7-D36D7B89AF2D}" type="presParOf" srcId="{BB697147-D77D-48B6-8D00-352308E647D2}" destId="{79D1FBEF-5340-4A69-A905-5BCEF23CA71E}" srcOrd="1" destOrd="0" presId="urn:microsoft.com/office/officeart/2009/3/layout/HorizontalOrganizationChart"/>
    <dgm:cxn modelId="{E9FFC777-4259-4CCD-8E34-08FC78019CEA}" type="presParOf" srcId="{F8E9B268-C39F-492A-84D5-A29A6FA2740A}" destId="{423589BE-6CCD-423F-8126-7012FF853FD0}" srcOrd="1" destOrd="0" presId="urn:microsoft.com/office/officeart/2009/3/layout/HorizontalOrganizationChart"/>
    <dgm:cxn modelId="{6E608FE8-7F97-401E-99E9-DCE41229A3DC}" type="presParOf" srcId="{F8E9B268-C39F-492A-84D5-A29A6FA2740A}" destId="{F58D02EC-0E33-4724-8F82-50CC25195779}" srcOrd="2" destOrd="0" presId="urn:microsoft.com/office/officeart/2009/3/layout/HorizontalOrganizationChart"/>
    <dgm:cxn modelId="{4D152C81-84EE-40F1-A6C3-94E6428C3433}" type="presParOf" srcId="{89FB304B-DB0C-47A5-BF1B-1F1BC24D54AB}" destId="{F3349B55-40C5-40DB-B03F-C6A332D53F33}" srcOrd="2" destOrd="0" presId="urn:microsoft.com/office/officeart/2009/3/layout/HorizontalOrganizationChart"/>
    <dgm:cxn modelId="{EDBB63C1-0228-4C11-93A1-F41789A8DFA6}" type="presParOf" srcId="{89FB304B-DB0C-47A5-BF1B-1F1BC24D54AB}" destId="{71D1C8CA-2A53-455A-89F9-56D9D07C77E3}" srcOrd="3" destOrd="0" presId="urn:microsoft.com/office/officeart/2009/3/layout/HorizontalOrganizationChart"/>
    <dgm:cxn modelId="{F4F6951A-6B83-4A2E-8F5F-1C99D3ACB5EA}" type="presParOf" srcId="{71D1C8CA-2A53-455A-89F9-56D9D07C77E3}" destId="{72CB91B9-DF2F-447A-9659-D4F3C7F6D283}" srcOrd="0" destOrd="0" presId="urn:microsoft.com/office/officeart/2009/3/layout/HorizontalOrganizationChart"/>
    <dgm:cxn modelId="{0E2D56F0-8BD1-4856-BF41-78C39F0F4053}" type="presParOf" srcId="{72CB91B9-DF2F-447A-9659-D4F3C7F6D283}" destId="{BCDFCB1B-4596-448B-BD49-AB9DA6A16689}" srcOrd="0" destOrd="0" presId="urn:microsoft.com/office/officeart/2009/3/layout/HorizontalOrganizationChart"/>
    <dgm:cxn modelId="{6ADA389B-FD20-4B1B-8796-2D8AF5877CEB}" type="presParOf" srcId="{72CB91B9-DF2F-447A-9659-D4F3C7F6D283}" destId="{EBA7B678-CCB9-4F86-B250-EAD60E05754C}" srcOrd="1" destOrd="0" presId="urn:microsoft.com/office/officeart/2009/3/layout/HorizontalOrganizationChart"/>
    <dgm:cxn modelId="{C5ACF653-0C9A-4AA1-AA9A-ABE24E46833A}" type="presParOf" srcId="{71D1C8CA-2A53-455A-89F9-56D9D07C77E3}" destId="{C8EB7540-EF7D-4332-A8AE-94DEE0C7A4ED}" srcOrd="1" destOrd="0" presId="urn:microsoft.com/office/officeart/2009/3/layout/HorizontalOrganizationChart"/>
    <dgm:cxn modelId="{B659BF17-2EE3-4A10-BE5D-027321FF6E71}" type="presParOf" srcId="{71D1C8CA-2A53-455A-89F9-56D9D07C77E3}" destId="{6DEEEE1C-3418-4E20-B687-F518D35BD90B}" srcOrd="2" destOrd="0" presId="urn:microsoft.com/office/officeart/2009/3/layout/HorizontalOrganizationChart"/>
    <dgm:cxn modelId="{4C38E653-998F-47D5-ADDA-B2CDC039C24F}" type="presParOf" srcId="{0A6D756A-9ACE-407D-A13A-EEC294BADEB3}" destId="{7FDA3D75-1C8F-4EBC-A673-3055E7FF80E7}" srcOrd="2" destOrd="0" presId="urn:microsoft.com/office/officeart/2009/3/layout/HorizontalOrganizationChart"/>
    <dgm:cxn modelId="{594380D5-5B9F-4239-9726-FE6496DFD25F}" type="presParOf" srcId="{737BCE6D-3908-4D53-9D51-BBD1183F5298}" destId="{C1627445-2A9E-4D02-B58B-9A0DFEB09874}" srcOrd="2" destOrd="0" presId="urn:microsoft.com/office/officeart/2009/3/layout/HorizontalOrganizationChart"/>
    <dgm:cxn modelId="{1E0D6B46-36F2-4DD1-A211-14753CEB6D19}" type="presParOf" srcId="{737BCE6D-3908-4D53-9D51-BBD1183F5298}" destId="{267630AD-480E-4126-A67B-0793F7944B47}" srcOrd="3" destOrd="0" presId="urn:microsoft.com/office/officeart/2009/3/layout/HorizontalOrganizationChart"/>
    <dgm:cxn modelId="{18233157-E31F-4B4C-8183-AD7D989F1D4B}" type="presParOf" srcId="{267630AD-480E-4126-A67B-0793F7944B47}" destId="{A022D6A1-B6FE-4C12-B2C3-1026D9AB5247}" srcOrd="0" destOrd="0" presId="urn:microsoft.com/office/officeart/2009/3/layout/HorizontalOrganizationChart"/>
    <dgm:cxn modelId="{9959C039-C9EC-4A5A-BD82-AA50F8F2D66F}" type="presParOf" srcId="{A022D6A1-B6FE-4C12-B2C3-1026D9AB5247}" destId="{57E3D43C-8681-4154-AE34-2BE29C035DB4}" srcOrd="0" destOrd="0" presId="urn:microsoft.com/office/officeart/2009/3/layout/HorizontalOrganizationChart"/>
    <dgm:cxn modelId="{2CAE97CA-4316-4AF8-82DB-8685FF161AEE}" type="presParOf" srcId="{A022D6A1-B6FE-4C12-B2C3-1026D9AB5247}" destId="{8A6279A8-F9B1-4563-84C5-E00BD473B713}" srcOrd="1" destOrd="0" presId="urn:microsoft.com/office/officeart/2009/3/layout/HorizontalOrganizationChart"/>
    <dgm:cxn modelId="{DFF1C508-13F1-43D9-B6F1-CF6E2A11125A}" type="presParOf" srcId="{267630AD-480E-4126-A67B-0793F7944B47}" destId="{BC58A82F-184A-47A7-AB51-15C7BF74AFBE}" srcOrd="1" destOrd="0" presId="urn:microsoft.com/office/officeart/2009/3/layout/HorizontalOrganizationChart"/>
    <dgm:cxn modelId="{6DC0CAA0-41A9-4318-ADD9-92BDF3600AD6}" type="presParOf" srcId="{BC58A82F-184A-47A7-AB51-15C7BF74AFBE}" destId="{637029ED-004A-47AA-BAD3-7E757519BAEA}" srcOrd="0" destOrd="0" presId="urn:microsoft.com/office/officeart/2009/3/layout/HorizontalOrganizationChart"/>
    <dgm:cxn modelId="{CF08211C-88D7-4712-AFB5-BFC9D1721CA3}" type="presParOf" srcId="{BC58A82F-184A-47A7-AB51-15C7BF74AFBE}" destId="{2BC362C9-489A-46ED-B51F-989A94825997}" srcOrd="1" destOrd="0" presId="urn:microsoft.com/office/officeart/2009/3/layout/HorizontalOrganizationChart"/>
    <dgm:cxn modelId="{71A3A0DE-68CE-4088-BD91-034DC6CA7007}" type="presParOf" srcId="{2BC362C9-489A-46ED-B51F-989A94825997}" destId="{AC28B35B-997B-48B6-A3CB-830726D3677E}" srcOrd="0" destOrd="0" presId="urn:microsoft.com/office/officeart/2009/3/layout/HorizontalOrganizationChart"/>
    <dgm:cxn modelId="{2D1BCB1A-C56B-4431-9C34-76C960E13D72}" type="presParOf" srcId="{AC28B35B-997B-48B6-A3CB-830726D3677E}" destId="{96CB12D1-B7CD-47F8-BD25-E80EE9C0D6AC}" srcOrd="0" destOrd="0" presId="urn:microsoft.com/office/officeart/2009/3/layout/HorizontalOrganizationChart"/>
    <dgm:cxn modelId="{02757B10-7E5B-475B-98BE-BDE961D1AFEB}" type="presParOf" srcId="{AC28B35B-997B-48B6-A3CB-830726D3677E}" destId="{1B28F1D7-78D0-4E00-B57F-EFAF3444BC43}" srcOrd="1" destOrd="0" presId="urn:microsoft.com/office/officeart/2009/3/layout/HorizontalOrganizationChart"/>
    <dgm:cxn modelId="{3318AC22-4F2D-4C1A-9552-78A7C74EB3C0}" type="presParOf" srcId="{2BC362C9-489A-46ED-B51F-989A94825997}" destId="{FBB5C3AD-8BF9-41BE-932C-03AC4826A9C3}" srcOrd="1" destOrd="0" presId="urn:microsoft.com/office/officeart/2009/3/layout/HorizontalOrganizationChart"/>
    <dgm:cxn modelId="{6AAE0E4E-D5D6-4A2B-A9D2-32F2C128FBCE}" type="presParOf" srcId="{2BC362C9-489A-46ED-B51F-989A94825997}" destId="{358E5B67-BE97-493A-962B-BF2963CAE1EC}" srcOrd="2" destOrd="0" presId="urn:microsoft.com/office/officeart/2009/3/layout/HorizontalOrganizationChart"/>
    <dgm:cxn modelId="{C0AA76BE-31F9-4AD9-8A6A-FDF98B499A07}" type="presParOf" srcId="{267630AD-480E-4126-A67B-0793F7944B47}" destId="{5009A9F6-809A-47E8-97B0-83705CD549CA}" srcOrd="2" destOrd="0" presId="urn:microsoft.com/office/officeart/2009/3/layout/HorizontalOrganizationChart"/>
    <dgm:cxn modelId="{87CD58B6-DE52-487C-90FA-2E157FC42F4B}" type="presParOf" srcId="{9E09C741-ED01-4FBA-A753-4108F8086AA9}" destId="{3435646A-8C92-4920-97C3-6180B4CECA82}" srcOrd="2" destOrd="0" presId="urn:microsoft.com/office/officeart/2009/3/layout/HorizontalOrganizationChart"/>
    <dgm:cxn modelId="{F719293B-2950-4C99-A391-3C71A66CCC38}" type="presParOf" srcId="{3FBC8892-45D4-461F-922C-0EF2C27DBA73}" destId="{4FCEDC41-202C-41D8-9E1D-D0004B80F474}" srcOrd="2" destOrd="0" presId="urn:microsoft.com/office/officeart/2009/3/layout/HorizontalOrganizationChart"/>
    <dgm:cxn modelId="{4BAAA75B-8A80-4067-BEF6-1296545D707F}" type="presParOf" srcId="{376563FE-E6A9-420D-8654-8CBAD48CD965}" destId="{9921F939-0E95-4DF5-AFEE-830CFCC45E14}" srcOrd="2" destOrd="0" presId="urn:microsoft.com/office/officeart/2009/3/layout/HorizontalOrganizationChar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090EB-ADCD-4436-A877-A5405D9FD4C8}">
      <dsp:nvSpPr>
        <dsp:cNvPr id="0" name=""/>
        <dsp:cNvSpPr/>
      </dsp:nvSpPr>
      <dsp:spPr>
        <a:xfrm>
          <a:off x="3006629" y="1997873"/>
          <a:ext cx="3304562" cy="15912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90268" y="0"/>
              </a:lnTo>
              <a:lnTo>
                <a:pt x="1790268" y="1591258"/>
              </a:lnTo>
              <a:lnTo>
                <a:pt x="3304562" y="1591258"/>
              </a:lnTo>
            </a:path>
          </a:pathLst>
        </a:custGeom>
        <a:noFill/>
        <a:ln w="9525" cap="flat" cmpd="sng" algn="ctr">
          <a:solidFill>
            <a:schemeClr val="bg1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5158F6-567C-456E-8852-06864D022389}">
      <dsp:nvSpPr>
        <dsp:cNvPr id="0" name=""/>
        <dsp:cNvSpPr/>
      </dsp:nvSpPr>
      <dsp:spPr>
        <a:xfrm>
          <a:off x="3006629" y="565679"/>
          <a:ext cx="3304562" cy="1432194"/>
        </a:xfrm>
        <a:custGeom>
          <a:avLst/>
          <a:gdLst/>
          <a:ahLst/>
          <a:cxnLst/>
          <a:rect l="0" t="0" r="0" b="0"/>
          <a:pathLst>
            <a:path>
              <a:moveTo>
                <a:pt x="0" y="1432194"/>
              </a:moveTo>
              <a:lnTo>
                <a:pt x="1790268" y="1432194"/>
              </a:lnTo>
              <a:lnTo>
                <a:pt x="1790268" y="0"/>
              </a:lnTo>
              <a:lnTo>
                <a:pt x="3304562" y="0"/>
              </a:lnTo>
            </a:path>
          </a:pathLst>
        </a:custGeom>
        <a:noFill/>
        <a:ln w="9525" cap="flat" cmpd="sng" algn="ctr">
          <a:solidFill>
            <a:schemeClr val="bg1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D10B39-F17A-4BE5-BF00-62362637F086}">
      <dsp:nvSpPr>
        <dsp:cNvPr id="0" name=""/>
        <dsp:cNvSpPr/>
      </dsp:nvSpPr>
      <dsp:spPr>
        <a:xfrm>
          <a:off x="0" y="1391544"/>
          <a:ext cx="3006629" cy="121265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rgbClr val="474C55"/>
              </a:solidFill>
              <a:latin typeface="Calibri" panose="020F0502020204030204"/>
              <a:ea typeface="+mn-ea"/>
              <a:cs typeface="+mn-cs"/>
            </a:rPr>
            <a:t>How to optimize collection efforts to recover delinquent payments to 10%</a:t>
          </a:r>
        </a:p>
      </dsp:txBody>
      <dsp:txXfrm>
        <a:off x="0" y="1391544"/>
        <a:ext cx="3006629" cy="1212658"/>
      </dsp:txXfrm>
    </dsp:sp>
    <dsp:sp modelId="{740E0014-DE5C-41ED-AE02-53CF8357E2DE}">
      <dsp:nvSpPr>
        <dsp:cNvPr id="0" name=""/>
        <dsp:cNvSpPr/>
      </dsp:nvSpPr>
      <dsp:spPr>
        <a:xfrm>
          <a:off x="6311192" y="386"/>
          <a:ext cx="3180622" cy="1130585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Optimize collection effort Before Charge-off</a:t>
          </a:r>
        </a:p>
      </dsp:txBody>
      <dsp:txXfrm>
        <a:off x="6311192" y="386"/>
        <a:ext cx="3180622" cy="1130585"/>
      </dsp:txXfrm>
    </dsp:sp>
    <dsp:sp modelId="{F685F629-753B-4FFA-ACAA-28DC59DFC453}">
      <dsp:nvSpPr>
        <dsp:cNvPr id="0" name=""/>
        <dsp:cNvSpPr/>
      </dsp:nvSpPr>
      <dsp:spPr>
        <a:xfrm>
          <a:off x="6311192" y="3023839"/>
          <a:ext cx="3180622" cy="1130585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/>
            <a:t>Optimize collection efforts once account is charged-off</a:t>
          </a:r>
          <a:endParaRPr lang="en-US" sz="1300" kern="1200" dirty="0"/>
        </a:p>
      </dsp:txBody>
      <dsp:txXfrm>
        <a:off x="6311192" y="3023839"/>
        <a:ext cx="3180622" cy="113058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125D18-9AE6-4B7F-B453-9CBEA5EEBA23}">
      <dsp:nvSpPr>
        <dsp:cNvPr id="0" name=""/>
        <dsp:cNvSpPr/>
      </dsp:nvSpPr>
      <dsp:spPr>
        <a:xfrm>
          <a:off x="5811181" y="4464571"/>
          <a:ext cx="51410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14109" y="4572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2C5A2D-6C35-46B6-9D15-C4C25980B735}">
      <dsp:nvSpPr>
        <dsp:cNvPr id="0" name=""/>
        <dsp:cNvSpPr/>
      </dsp:nvSpPr>
      <dsp:spPr>
        <a:xfrm>
          <a:off x="3836201" y="3207498"/>
          <a:ext cx="266239" cy="13027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5364" y="0"/>
              </a:lnTo>
              <a:lnTo>
                <a:pt x="95364" y="1302793"/>
              </a:lnTo>
              <a:lnTo>
                <a:pt x="266239" y="1302793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A103D0-3247-4C33-8BB8-C9D8CD42D887}">
      <dsp:nvSpPr>
        <dsp:cNvPr id="0" name=""/>
        <dsp:cNvSpPr/>
      </dsp:nvSpPr>
      <dsp:spPr>
        <a:xfrm>
          <a:off x="9912161" y="3712847"/>
          <a:ext cx="34174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41748" y="4572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BFEAAE-4134-4A1D-A257-A36C28DFA3D6}">
      <dsp:nvSpPr>
        <dsp:cNvPr id="0" name=""/>
        <dsp:cNvSpPr/>
      </dsp:nvSpPr>
      <dsp:spPr>
        <a:xfrm>
          <a:off x="7861671" y="3391187"/>
          <a:ext cx="341748" cy="3673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0874" y="0"/>
              </a:lnTo>
              <a:lnTo>
                <a:pt x="170874" y="367379"/>
              </a:lnTo>
              <a:lnTo>
                <a:pt x="341748" y="367379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25ABD1-9CAE-4345-ADF6-4C405D172C9B}">
      <dsp:nvSpPr>
        <dsp:cNvPr id="0" name=""/>
        <dsp:cNvSpPr/>
      </dsp:nvSpPr>
      <dsp:spPr>
        <a:xfrm>
          <a:off x="9912161" y="2978088"/>
          <a:ext cx="34174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41748" y="4572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1E85F0-D910-408B-91A0-5C7BAA37EF04}">
      <dsp:nvSpPr>
        <dsp:cNvPr id="0" name=""/>
        <dsp:cNvSpPr/>
      </dsp:nvSpPr>
      <dsp:spPr>
        <a:xfrm>
          <a:off x="7861671" y="3023808"/>
          <a:ext cx="341748" cy="367379"/>
        </a:xfrm>
        <a:custGeom>
          <a:avLst/>
          <a:gdLst/>
          <a:ahLst/>
          <a:cxnLst/>
          <a:rect l="0" t="0" r="0" b="0"/>
          <a:pathLst>
            <a:path>
              <a:moveTo>
                <a:pt x="0" y="367379"/>
              </a:moveTo>
              <a:lnTo>
                <a:pt x="170874" y="367379"/>
              </a:lnTo>
              <a:lnTo>
                <a:pt x="170874" y="0"/>
              </a:lnTo>
              <a:lnTo>
                <a:pt x="341748" y="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B246E6-ECC1-4148-8452-67092DD9C46F}">
      <dsp:nvSpPr>
        <dsp:cNvPr id="0" name=""/>
        <dsp:cNvSpPr/>
      </dsp:nvSpPr>
      <dsp:spPr>
        <a:xfrm>
          <a:off x="5811181" y="1917958"/>
          <a:ext cx="341748" cy="14732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0874" y="0"/>
              </a:lnTo>
              <a:lnTo>
                <a:pt x="170874" y="1473229"/>
              </a:lnTo>
              <a:lnTo>
                <a:pt x="341748" y="1473229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E092C8-580B-4E38-96DA-CA30B329F0D1}">
      <dsp:nvSpPr>
        <dsp:cNvPr id="0" name=""/>
        <dsp:cNvSpPr/>
      </dsp:nvSpPr>
      <dsp:spPr>
        <a:xfrm>
          <a:off x="9912161" y="2243329"/>
          <a:ext cx="34174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41748" y="4572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7B1DF1-EB7D-46EA-B1E6-28B1FC4E11BC}">
      <dsp:nvSpPr>
        <dsp:cNvPr id="0" name=""/>
        <dsp:cNvSpPr/>
      </dsp:nvSpPr>
      <dsp:spPr>
        <a:xfrm>
          <a:off x="7861671" y="1921670"/>
          <a:ext cx="341748" cy="3673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0874" y="0"/>
              </a:lnTo>
              <a:lnTo>
                <a:pt x="170874" y="367379"/>
              </a:lnTo>
              <a:lnTo>
                <a:pt x="341748" y="367379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EF92E6-EBAB-407D-86BA-AD99CABA8620}">
      <dsp:nvSpPr>
        <dsp:cNvPr id="0" name=""/>
        <dsp:cNvSpPr/>
      </dsp:nvSpPr>
      <dsp:spPr>
        <a:xfrm>
          <a:off x="7861671" y="1554290"/>
          <a:ext cx="341748" cy="367379"/>
        </a:xfrm>
        <a:custGeom>
          <a:avLst/>
          <a:gdLst/>
          <a:ahLst/>
          <a:cxnLst/>
          <a:rect l="0" t="0" r="0" b="0"/>
          <a:pathLst>
            <a:path>
              <a:moveTo>
                <a:pt x="0" y="367379"/>
              </a:moveTo>
              <a:lnTo>
                <a:pt x="170874" y="367379"/>
              </a:lnTo>
              <a:lnTo>
                <a:pt x="170874" y="0"/>
              </a:lnTo>
              <a:lnTo>
                <a:pt x="341748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BDA912-8A03-45A5-A4F6-E3450579011F}">
      <dsp:nvSpPr>
        <dsp:cNvPr id="0" name=""/>
        <dsp:cNvSpPr/>
      </dsp:nvSpPr>
      <dsp:spPr>
        <a:xfrm>
          <a:off x="5811181" y="1872238"/>
          <a:ext cx="34174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70874" y="45720"/>
              </a:lnTo>
              <a:lnTo>
                <a:pt x="170874" y="49431"/>
              </a:lnTo>
              <a:lnTo>
                <a:pt x="341748" y="49431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5AA3D5-4A11-4ABF-A5E9-514B554C24FF}">
      <dsp:nvSpPr>
        <dsp:cNvPr id="0" name=""/>
        <dsp:cNvSpPr/>
      </dsp:nvSpPr>
      <dsp:spPr>
        <a:xfrm>
          <a:off x="5811181" y="749553"/>
          <a:ext cx="341748" cy="1168404"/>
        </a:xfrm>
        <a:custGeom>
          <a:avLst/>
          <a:gdLst/>
          <a:ahLst/>
          <a:cxnLst/>
          <a:rect l="0" t="0" r="0" b="0"/>
          <a:pathLst>
            <a:path>
              <a:moveTo>
                <a:pt x="0" y="1168404"/>
              </a:moveTo>
              <a:lnTo>
                <a:pt x="170874" y="1168404"/>
              </a:lnTo>
              <a:lnTo>
                <a:pt x="170874" y="0"/>
              </a:lnTo>
              <a:lnTo>
                <a:pt x="341748" y="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54B297-BE95-44C0-8F39-042F9B8EAE79}">
      <dsp:nvSpPr>
        <dsp:cNvPr id="0" name=""/>
        <dsp:cNvSpPr/>
      </dsp:nvSpPr>
      <dsp:spPr>
        <a:xfrm>
          <a:off x="3836201" y="1917958"/>
          <a:ext cx="266239" cy="1289539"/>
        </a:xfrm>
        <a:custGeom>
          <a:avLst/>
          <a:gdLst/>
          <a:ahLst/>
          <a:cxnLst/>
          <a:rect l="0" t="0" r="0" b="0"/>
          <a:pathLst>
            <a:path>
              <a:moveTo>
                <a:pt x="0" y="1289539"/>
              </a:moveTo>
              <a:lnTo>
                <a:pt x="95364" y="1289539"/>
              </a:lnTo>
              <a:lnTo>
                <a:pt x="95364" y="0"/>
              </a:lnTo>
              <a:lnTo>
                <a:pt x="266239" y="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79D1E-2B68-4679-AFF5-8CFF8F58EC48}">
      <dsp:nvSpPr>
        <dsp:cNvPr id="0" name=""/>
        <dsp:cNvSpPr/>
      </dsp:nvSpPr>
      <dsp:spPr>
        <a:xfrm>
          <a:off x="1794101" y="3161778"/>
          <a:ext cx="33335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358" y="4572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ADD5EE-9DA7-4C3E-BD67-333601972390}">
      <dsp:nvSpPr>
        <dsp:cNvPr id="0" name=""/>
        <dsp:cNvSpPr/>
      </dsp:nvSpPr>
      <dsp:spPr>
        <a:xfrm>
          <a:off x="85359" y="2946915"/>
          <a:ext cx="1708741" cy="52116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Optimize collection effort Before Charge-off</a:t>
          </a:r>
        </a:p>
      </dsp:txBody>
      <dsp:txXfrm>
        <a:off x="85359" y="2946915"/>
        <a:ext cx="1708741" cy="521166"/>
      </dsp:txXfrm>
    </dsp:sp>
    <dsp:sp modelId="{D5D716B0-B39E-4ED5-8524-6972392F8166}">
      <dsp:nvSpPr>
        <dsp:cNvPr id="0" name=""/>
        <dsp:cNvSpPr/>
      </dsp:nvSpPr>
      <dsp:spPr>
        <a:xfrm>
          <a:off x="2127459" y="2946915"/>
          <a:ext cx="1708741" cy="52116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ntact the client </a:t>
          </a:r>
        </a:p>
      </dsp:txBody>
      <dsp:txXfrm>
        <a:off x="2127459" y="2946915"/>
        <a:ext cx="1708741" cy="521166"/>
      </dsp:txXfrm>
    </dsp:sp>
    <dsp:sp modelId="{47E11ADC-E706-4D3F-B0D2-44AA822F24EF}">
      <dsp:nvSpPr>
        <dsp:cNvPr id="0" name=""/>
        <dsp:cNvSpPr/>
      </dsp:nvSpPr>
      <dsp:spPr>
        <a:xfrm>
          <a:off x="4102440" y="1657375"/>
          <a:ext cx="1708741" cy="52116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 Successful contact</a:t>
          </a:r>
        </a:p>
      </dsp:txBody>
      <dsp:txXfrm>
        <a:off x="4102440" y="1657375"/>
        <a:ext cx="1708741" cy="521166"/>
      </dsp:txXfrm>
    </dsp:sp>
    <dsp:sp modelId="{BDB260E4-98AC-4C17-BD72-92F9BBB225FB}">
      <dsp:nvSpPr>
        <dsp:cNvPr id="0" name=""/>
        <dsp:cNvSpPr/>
      </dsp:nvSpPr>
      <dsp:spPr>
        <a:xfrm>
          <a:off x="6152930" y="488970"/>
          <a:ext cx="1708741" cy="52116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ady</a:t>
          </a:r>
          <a:r>
            <a:rPr lang="en-US" sz="1200" kern="1200" baseline="0" dirty="0"/>
            <a:t> to pay immediately</a:t>
          </a:r>
          <a:endParaRPr lang="en-US" sz="1200" kern="1200" dirty="0"/>
        </a:p>
      </dsp:txBody>
      <dsp:txXfrm>
        <a:off x="6152930" y="488970"/>
        <a:ext cx="1708741" cy="521166"/>
      </dsp:txXfrm>
    </dsp:sp>
    <dsp:sp modelId="{F468E544-FE87-4644-AA8C-CDABA2B8B51B}">
      <dsp:nvSpPr>
        <dsp:cNvPr id="0" name=""/>
        <dsp:cNvSpPr/>
      </dsp:nvSpPr>
      <dsp:spPr>
        <a:xfrm>
          <a:off x="6152930" y="1661087"/>
          <a:ext cx="1708741" cy="52116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ecuring payment commitments</a:t>
          </a:r>
        </a:p>
      </dsp:txBody>
      <dsp:txXfrm>
        <a:off x="6152930" y="1661087"/>
        <a:ext cx="1708741" cy="521166"/>
      </dsp:txXfrm>
    </dsp:sp>
    <dsp:sp modelId="{AB9DEF27-D489-4030-858D-C42AB4B0B273}">
      <dsp:nvSpPr>
        <dsp:cNvPr id="0" name=""/>
        <dsp:cNvSpPr/>
      </dsp:nvSpPr>
      <dsp:spPr>
        <a:xfrm>
          <a:off x="8203420" y="1293707"/>
          <a:ext cx="1708741" cy="52116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eets commitment</a:t>
          </a:r>
        </a:p>
      </dsp:txBody>
      <dsp:txXfrm>
        <a:off x="8203420" y="1293707"/>
        <a:ext cx="1708741" cy="521166"/>
      </dsp:txXfrm>
    </dsp:sp>
    <dsp:sp modelId="{F33BCE08-E31B-45A0-B412-221DC4ED012C}">
      <dsp:nvSpPr>
        <dsp:cNvPr id="0" name=""/>
        <dsp:cNvSpPr/>
      </dsp:nvSpPr>
      <dsp:spPr>
        <a:xfrm>
          <a:off x="8203420" y="2028466"/>
          <a:ext cx="1708741" cy="52116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oesn't meet commitment</a:t>
          </a:r>
        </a:p>
      </dsp:txBody>
      <dsp:txXfrm>
        <a:off x="8203420" y="2028466"/>
        <a:ext cx="1708741" cy="521166"/>
      </dsp:txXfrm>
    </dsp:sp>
    <dsp:sp modelId="{BB77D20E-A7CC-4CD0-BD5B-621D09A560B5}">
      <dsp:nvSpPr>
        <dsp:cNvPr id="0" name=""/>
        <dsp:cNvSpPr/>
      </dsp:nvSpPr>
      <dsp:spPr>
        <a:xfrm>
          <a:off x="10253909" y="2028466"/>
          <a:ext cx="1708741" cy="52116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ake legal Action</a:t>
          </a:r>
        </a:p>
      </dsp:txBody>
      <dsp:txXfrm>
        <a:off x="10253909" y="2028466"/>
        <a:ext cx="1708741" cy="521166"/>
      </dsp:txXfrm>
    </dsp:sp>
    <dsp:sp modelId="{5536F0E7-B51C-40C3-8EF2-AB20D68D40C7}">
      <dsp:nvSpPr>
        <dsp:cNvPr id="0" name=""/>
        <dsp:cNvSpPr/>
      </dsp:nvSpPr>
      <dsp:spPr>
        <a:xfrm>
          <a:off x="6152930" y="3130604"/>
          <a:ext cx="1708741" cy="52116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fuses to pay</a:t>
          </a:r>
        </a:p>
      </dsp:txBody>
      <dsp:txXfrm>
        <a:off x="6152930" y="3130604"/>
        <a:ext cx="1708741" cy="521166"/>
      </dsp:txXfrm>
    </dsp:sp>
    <dsp:sp modelId="{57AF1DF6-8E7E-4227-A7C1-CA6068846794}">
      <dsp:nvSpPr>
        <dsp:cNvPr id="0" name=""/>
        <dsp:cNvSpPr/>
      </dsp:nvSpPr>
      <dsp:spPr>
        <a:xfrm>
          <a:off x="8203420" y="2763225"/>
          <a:ext cx="1708741" cy="52116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No capacity to pay</a:t>
          </a:r>
        </a:p>
      </dsp:txBody>
      <dsp:txXfrm>
        <a:off x="8203420" y="2763225"/>
        <a:ext cx="1708741" cy="521166"/>
      </dsp:txXfrm>
    </dsp:sp>
    <dsp:sp modelId="{67B70FCA-CD84-4379-B99E-EBF6EF85E9EC}">
      <dsp:nvSpPr>
        <dsp:cNvPr id="0" name=""/>
        <dsp:cNvSpPr/>
      </dsp:nvSpPr>
      <dsp:spPr>
        <a:xfrm>
          <a:off x="10253909" y="2763225"/>
          <a:ext cx="1708741" cy="52116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Negotiate to change loan conditions (restructuring, refinancing, </a:t>
          </a:r>
          <a:r>
            <a:rPr lang="en-US" sz="1200" kern="1200" dirty="0" err="1"/>
            <a:t>etc</a:t>
          </a:r>
          <a:r>
            <a:rPr lang="en-US" sz="1200" kern="1200" dirty="0"/>
            <a:t>)</a:t>
          </a:r>
        </a:p>
      </dsp:txBody>
      <dsp:txXfrm>
        <a:off x="10253909" y="2763225"/>
        <a:ext cx="1708741" cy="521166"/>
      </dsp:txXfrm>
    </dsp:sp>
    <dsp:sp modelId="{C082EB50-066B-4C1C-8B4D-F0367921A422}">
      <dsp:nvSpPr>
        <dsp:cNvPr id="0" name=""/>
        <dsp:cNvSpPr/>
      </dsp:nvSpPr>
      <dsp:spPr>
        <a:xfrm>
          <a:off x="8203420" y="3497984"/>
          <a:ext cx="1708741" cy="52116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No willingness to pay</a:t>
          </a:r>
        </a:p>
      </dsp:txBody>
      <dsp:txXfrm>
        <a:off x="8203420" y="3497984"/>
        <a:ext cx="1708741" cy="521166"/>
      </dsp:txXfrm>
    </dsp:sp>
    <dsp:sp modelId="{9F217BB3-89F9-4B6A-A168-166DEAE91D24}">
      <dsp:nvSpPr>
        <dsp:cNvPr id="0" name=""/>
        <dsp:cNvSpPr/>
      </dsp:nvSpPr>
      <dsp:spPr>
        <a:xfrm>
          <a:off x="10253909" y="3497984"/>
          <a:ext cx="1708741" cy="52116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ake legal actions</a:t>
          </a:r>
        </a:p>
      </dsp:txBody>
      <dsp:txXfrm>
        <a:off x="10253909" y="3497984"/>
        <a:ext cx="1708741" cy="521166"/>
      </dsp:txXfrm>
    </dsp:sp>
    <dsp:sp modelId="{E07C8236-46D1-440E-8300-A531C934854A}">
      <dsp:nvSpPr>
        <dsp:cNvPr id="0" name=""/>
        <dsp:cNvSpPr/>
      </dsp:nvSpPr>
      <dsp:spPr>
        <a:xfrm>
          <a:off x="4102440" y="4249708"/>
          <a:ext cx="1708741" cy="52116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Unsuccessful contact</a:t>
          </a:r>
        </a:p>
      </dsp:txBody>
      <dsp:txXfrm>
        <a:off x="4102440" y="4249708"/>
        <a:ext cx="1708741" cy="521166"/>
      </dsp:txXfrm>
    </dsp:sp>
    <dsp:sp modelId="{2D91E907-BCE8-47AB-A844-400BE2ED838A}">
      <dsp:nvSpPr>
        <dsp:cNvPr id="0" name=""/>
        <dsp:cNvSpPr/>
      </dsp:nvSpPr>
      <dsp:spPr>
        <a:xfrm>
          <a:off x="6325290" y="4249708"/>
          <a:ext cx="1708741" cy="52116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Write account as charged-off</a:t>
          </a:r>
        </a:p>
      </dsp:txBody>
      <dsp:txXfrm>
        <a:off x="6325290" y="4249708"/>
        <a:ext cx="1708741" cy="52116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7029ED-004A-47AA-BAD3-7E757519BAEA}">
      <dsp:nvSpPr>
        <dsp:cNvPr id="0" name=""/>
        <dsp:cNvSpPr/>
      </dsp:nvSpPr>
      <dsp:spPr>
        <a:xfrm>
          <a:off x="9482785" y="3797043"/>
          <a:ext cx="41185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1850" y="4572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627445-2A9E-4D02-B58B-9A0DFEB09874}">
      <dsp:nvSpPr>
        <dsp:cNvPr id="0" name=""/>
        <dsp:cNvSpPr/>
      </dsp:nvSpPr>
      <dsp:spPr>
        <a:xfrm>
          <a:off x="7021649" y="3179791"/>
          <a:ext cx="401883" cy="66297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95958" y="0"/>
              </a:lnTo>
              <a:lnTo>
                <a:pt x="195958" y="662972"/>
              </a:lnTo>
              <a:lnTo>
                <a:pt x="401883" y="662972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349B55-40C5-40DB-B03F-C6A332D53F33}">
      <dsp:nvSpPr>
        <dsp:cNvPr id="0" name=""/>
        <dsp:cNvSpPr/>
      </dsp:nvSpPr>
      <dsp:spPr>
        <a:xfrm>
          <a:off x="9495594" y="2476384"/>
          <a:ext cx="399041" cy="4809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93116" y="0"/>
              </a:lnTo>
              <a:lnTo>
                <a:pt x="193116" y="480900"/>
              </a:lnTo>
              <a:lnTo>
                <a:pt x="399041" y="48090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75AD35-A7C4-42CE-A9F3-16CB434EC3F0}">
      <dsp:nvSpPr>
        <dsp:cNvPr id="0" name=""/>
        <dsp:cNvSpPr/>
      </dsp:nvSpPr>
      <dsp:spPr>
        <a:xfrm>
          <a:off x="9495594" y="2071806"/>
          <a:ext cx="399041" cy="404577"/>
        </a:xfrm>
        <a:custGeom>
          <a:avLst/>
          <a:gdLst/>
          <a:ahLst/>
          <a:cxnLst/>
          <a:rect l="0" t="0" r="0" b="0"/>
          <a:pathLst>
            <a:path>
              <a:moveTo>
                <a:pt x="0" y="404577"/>
              </a:moveTo>
              <a:lnTo>
                <a:pt x="193116" y="404577"/>
              </a:lnTo>
              <a:lnTo>
                <a:pt x="193116" y="0"/>
              </a:lnTo>
              <a:lnTo>
                <a:pt x="399041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0FE14B-5DE2-44D6-B640-4B5B3B6DF500}">
      <dsp:nvSpPr>
        <dsp:cNvPr id="0" name=""/>
        <dsp:cNvSpPr/>
      </dsp:nvSpPr>
      <dsp:spPr>
        <a:xfrm>
          <a:off x="7021649" y="2476384"/>
          <a:ext cx="414692" cy="703407"/>
        </a:xfrm>
        <a:custGeom>
          <a:avLst/>
          <a:gdLst/>
          <a:ahLst/>
          <a:cxnLst/>
          <a:rect l="0" t="0" r="0" b="0"/>
          <a:pathLst>
            <a:path>
              <a:moveTo>
                <a:pt x="0" y="703407"/>
              </a:moveTo>
              <a:lnTo>
                <a:pt x="208767" y="703407"/>
              </a:lnTo>
              <a:lnTo>
                <a:pt x="208767" y="0"/>
              </a:lnTo>
              <a:lnTo>
                <a:pt x="414692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C18C52-5FAE-441C-A2B3-200E7F761D0E}">
      <dsp:nvSpPr>
        <dsp:cNvPr id="0" name=""/>
        <dsp:cNvSpPr/>
      </dsp:nvSpPr>
      <dsp:spPr>
        <a:xfrm>
          <a:off x="4550545" y="3134071"/>
          <a:ext cx="41185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1850" y="4572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611A72-995D-4025-B5D4-C885C138341A}">
      <dsp:nvSpPr>
        <dsp:cNvPr id="0" name=""/>
        <dsp:cNvSpPr/>
      </dsp:nvSpPr>
      <dsp:spPr>
        <a:xfrm>
          <a:off x="2079442" y="2737052"/>
          <a:ext cx="411850" cy="4427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05925" y="0"/>
              </a:lnTo>
              <a:lnTo>
                <a:pt x="205925" y="442739"/>
              </a:lnTo>
              <a:lnTo>
                <a:pt x="411850" y="442739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E6F27B-F777-4CF2-B46E-987B144773DA}">
      <dsp:nvSpPr>
        <dsp:cNvPr id="0" name=""/>
        <dsp:cNvSpPr/>
      </dsp:nvSpPr>
      <dsp:spPr>
        <a:xfrm>
          <a:off x="2079442" y="2294312"/>
          <a:ext cx="411850" cy="442739"/>
        </a:xfrm>
        <a:custGeom>
          <a:avLst/>
          <a:gdLst/>
          <a:ahLst/>
          <a:cxnLst/>
          <a:rect l="0" t="0" r="0" b="0"/>
          <a:pathLst>
            <a:path>
              <a:moveTo>
                <a:pt x="0" y="442739"/>
              </a:moveTo>
              <a:lnTo>
                <a:pt x="205925" y="442739"/>
              </a:lnTo>
              <a:lnTo>
                <a:pt x="205925" y="0"/>
              </a:lnTo>
              <a:lnTo>
                <a:pt x="411850" y="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1C9CDB-1460-4F2B-997F-6CA34E2B77A1}">
      <dsp:nvSpPr>
        <dsp:cNvPr id="0" name=""/>
        <dsp:cNvSpPr/>
      </dsp:nvSpPr>
      <dsp:spPr>
        <a:xfrm>
          <a:off x="20190" y="2423016"/>
          <a:ext cx="2059252" cy="62807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kern="1200" dirty="0"/>
            <a:t>Optimize collection efforts once account is charged-off</a:t>
          </a:r>
          <a:endParaRPr lang="en-US" sz="1300" b="0" kern="1200" dirty="0">
            <a:latin typeface="Calibri "/>
            <a:ea typeface="Segoe UI" panose="020B0502040204020203" pitchFamily="34" charset="0"/>
            <a:cs typeface="Segoe UI" panose="020B0502040204020203" pitchFamily="34" charset="0"/>
          </a:endParaRPr>
        </a:p>
      </dsp:txBody>
      <dsp:txXfrm>
        <a:off x="20190" y="2423016"/>
        <a:ext cx="2059252" cy="628072"/>
      </dsp:txXfrm>
    </dsp:sp>
    <dsp:sp modelId="{83CD67A1-C11F-4E4A-9AC5-BAAE37E8CFEA}">
      <dsp:nvSpPr>
        <dsp:cNvPr id="0" name=""/>
        <dsp:cNvSpPr/>
      </dsp:nvSpPr>
      <dsp:spPr>
        <a:xfrm>
          <a:off x="2491293" y="1980276"/>
          <a:ext cx="2059252" cy="628072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 dirty="0">
              <a:latin typeface="Calibri "/>
              <a:ea typeface="Segoe UI" panose="020B0502040204020203" pitchFamily="34" charset="0"/>
              <a:cs typeface="Segoe UI" panose="020B0502040204020203" pitchFamily="34" charset="0"/>
            </a:rPr>
            <a:t>Sell debt to Collection agency</a:t>
          </a:r>
        </a:p>
      </dsp:txBody>
      <dsp:txXfrm>
        <a:off x="2491293" y="1980276"/>
        <a:ext cx="2059252" cy="628072"/>
      </dsp:txXfrm>
    </dsp:sp>
    <dsp:sp modelId="{333921D0-F92B-48D4-A672-57A48432183A}">
      <dsp:nvSpPr>
        <dsp:cNvPr id="0" name=""/>
        <dsp:cNvSpPr/>
      </dsp:nvSpPr>
      <dsp:spPr>
        <a:xfrm>
          <a:off x="2491293" y="2865755"/>
          <a:ext cx="2059252" cy="628072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 dirty="0">
              <a:latin typeface="Calibri "/>
              <a:ea typeface="Segoe UI" panose="020B0502040204020203" pitchFamily="34" charset="0"/>
              <a:cs typeface="Segoe UI" panose="020B0502040204020203" pitchFamily="34" charset="0"/>
            </a:rPr>
            <a:t>Don’t sell debt to collection agency</a:t>
          </a:r>
        </a:p>
      </dsp:txBody>
      <dsp:txXfrm>
        <a:off x="2491293" y="2865755"/>
        <a:ext cx="2059252" cy="628072"/>
      </dsp:txXfrm>
    </dsp:sp>
    <dsp:sp modelId="{F374B6F7-57E4-43B4-845C-762FC39C5E9D}">
      <dsp:nvSpPr>
        <dsp:cNvPr id="0" name=""/>
        <dsp:cNvSpPr/>
      </dsp:nvSpPr>
      <dsp:spPr>
        <a:xfrm>
          <a:off x="4962396" y="2865755"/>
          <a:ext cx="2059252" cy="628072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 dirty="0">
              <a:solidFill>
                <a:srgbClr val="474C55"/>
              </a:solidFill>
              <a:latin typeface="Calibri "/>
              <a:ea typeface="Segoe UI" panose="020B0502040204020203" pitchFamily="34" charset="0"/>
              <a:cs typeface="Segoe UI" panose="020B0502040204020203" pitchFamily="34" charset="0"/>
            </a:rPr>
            <a:t>Work with the original lender </a:t>
          </a:r>
          <a:r>
            <a:rPr lang="en-US" sz="1300" b="0" i="0" kern="1200" dirty="0"/>
            <a:t>to pay back the debt</a:t>
          </a:r>
          <a:endParaRPr lang="en-US" sz="1300" b="0" kern="1200" dirty="0">
            <a:solidFill>
              <a:srgbClr val="474C55"/>
            </a:solidFill>
            <a:latin typeface="Calibri "/>
            <a:ea typeface="Segoe UI" panose="020B0502040204020203" pitchFamily="34" charset="0"/>
            <a:cs typeface="Segoe UI" panose="020B0502040204020203" pitchFamily="34" charset="0"/>
          </a:endParaRPr>
        </a:p>
      </dsp:txBody>
      <dsp:txXfrm>
        <a:off x="4962396" y="2865755"/>
        <a:ext cx="2059252" cy="628072"/>
      </dsp:txXfrm>
    </dsp:sp>
    <dsp:sp modelId="{7D835092-DB8F-4A66-80E6-490B6CBB4A96}">
      <dsp:nvSpPr>
        <dsp:cNvPr id="0" name=""/>
        <dsp:cNvSpPr/>
      </dsp:nvSpPr>
      <dsp:spPr>
        <a:xfrm>
          <a:off x="7436341" y="2162347"/>
          <a:ext cx="2059252" cy="62807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Willing to pay</a:t>
          </a:r>
        </a:p>
      </dsp:txBody>
      <dsp:txXfrm>
        <a:off x="7436341" y="2162347"/>
        <a:ext cx="2059252" cy="628072"/>
      </dsp:txXfrm>
    </dsp:sp>
    <dsp:sp modelId="{135E285F-F2FF-493A-8415-DD7584B21EDD}">
      <dsp:nvSpPr>
        <dsp:cNvPr id="0" name=""/>
        <dsp:cNvSpPr/>
      </dsp:nvSpPr>
      <dsp:spPr>
        <a:xfrm>
          <a:off x="9894636" y="1757770"/>
          <a:ext cx="2059252" cy="62807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 dirty="0"/>
            <a:t>Negotiate a settlement and accepts less money than originally agreed</a:t>
          </a:r>
          <a:endParaRPr lang="en-US" sz="1400" b="0" kern="1200" dirty="0">
            <a:latin typeface="Calibri "/>
            <a:ea typeface="Segoe UI" panose="020B0502040204020203" pitchFamily="34" charset="0"/>
            <a:cs typeface="Segoe UI" panose="020B0502040204020203" pitchFamily="34" charset="0"/>
          </a:endParaRPr>
        </a:p>
      </dsp:txBody>
      <dsp:txXfrm>
        <a:off x="9894636" y="1757770"/>
        <a:ext cx="2059252" cy="628072"/>
      </dsp:txXfrm>
    </dsp:sp>
    <dsp:sp modelId="{BCDFCB1B-4596-448B-BD49-AB9DA6A16689}">
      <dsp:nvSpPr>
        <dsp:cNvPr id="0" name=""/>
        <dsp:cNvSpPr/>
      </dsp:nvSpPr>
      <dsp:spPr>
        <a:xfrm>
          <a:off x="9894636" y="2643248"/>
          <a:ext cx="2059252" cy="62807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Workout on payment plan for remaining balance</a:t>
          </a:r>
        </a:p>
      </dsp:txBody>
      <dsp:txXfrm>
        <a:off x="9894636" y="2643248"/>
        <a:ext cx="2059252" cy="628072"/>
      </dsp:txXfrm>
    </dsp:sp>
    <dsp:sp modelId="{57E3D43C-8681-4154-AE34-2BE29C035DB4}">
      <dsp:nvSpPr>
        <dsp:cNvPr id="0" name=""/>
        <dsp:cNvSpPr/>
      </dsp:nvSpPr>
      <dsp:spPr>
        <a:xfrm>
          <a:off x="7423532" y="3528727"/>
          <a:ext cx="2059252" cy="62807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Not willing to pay</a:t>
          </a:r>
        </a:p>
      </dsp:txBody>
      <dsp:txXfrm>
        <a:off x="7423532" y="3528727"/>
        <a:ext cx="2059252" cy="628072"/>
      </dsp:txXfrm>
    </dsp:sp>
    <dsp:sp modelId="{96CB12D1-B7CD-47F8-BD25-E80EE9C0D6AC}">
      <dsp:nvSpPr>
        <dsp:cNvPr id="0" name=""/>
        <dsp:cNvSpPr/>
      </dsp:nvSpPr>
      <dsp:spPr>
        <a:xfrm>
          <a:off x="9894636" y="3528727"/>
          <a:ext cx="2059252" cy="62807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i="0" kern="1200" dirty="0"/>
            <a:t>File a lawsuit against client for property or asset seizure</a:t>
          </a:r>
          <a:endParaRPr lang="en-US" sz="1400" kern="1200" dirty="0"/>
        </a:p>
      </dsp:txBody>
      <dsp:txXfrm>
        <a:off x="9894636" y="3528727"/>
        <a:ext cx="2059252" cy="6280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075</cdr:x>
      <cdr:y>0.1675</cdr:y>
    </cdr:from>
    <cdr:to>
      <cdr:x>0.35144</cdr:x>
      <cdr:y>0.33264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4F23A0F7-0AB0-47B1-A293-20B7F38EAA8E}"/>
            </a:ext>
          </a:extLst>
        </cdr:cNvPr>
        <cdr:cNvSpPr/>
      </cdr:nvSpPr>
      <cdr:spPr>
        <a:xfrm xmlns:a="http://schemas.openxmlformats.org/drawingml/2006/main">
          <a:off x="159027" y="658634"/>
          <a:ext cx="1212574" cy="64935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28575">
          <a:solidFill>
            <a:srgbClr val="FF0000"/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US">
            <a:solidFill>
              <a:schemeClr val="accent1">
                <a:lumMod val="75000"/>
              </a:schemeClr>
            </a:solidFill>
          </a:endParaRPr>
        </a:p>
      </cdr:txBody>
    </cdr:sp>
  </cdr:relSizeAnchor>
  <cdr:relSizeAnchor xmlns:cdr="http://schemas.openxmlformats.org/drawingml/2006/chartDrawing">
    <cdr:from>
      <cdr:x>0.40492</cdr:x>
      <cdr:y>0.2141</cdr:y>
    </cdr:from>
    <cdr:to>
      <cdr:x>0.75212</cdr:x>
      <cdr:y>0.36673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88165705-3191-4F83-A3C0-A7FC6A2921D4}"/>
            </a:ext>
          </a:extLst>
        </cdr:cNvPr>
        <cdr:cNvSpPr txBox="1"/>
      </cdr:nvSpPr>
      <cdr:spPr>
        <a:xfrm xmlns:a="http://schemas.openxmlformats.org/drawingml/2006/main">
          <a:off x="1580322" y="841880"/>
          <a:ext cx="1355035" cy="60016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pPr algn="l"/>
          <a:r>
            <a:rPr lang="en-US" sz="1100" b="1" dirty="0">
              <a:solidFill>
                <a:srgbClr val="FF0000"/>
              </a:solidFill>
            </a:rPr>
            <a:t>2.4 % drop in account receivable amount on time</a:t>
          </a:r>
        </a:p>
      </cdr:txBody>
    </cdr:sp>
  </cdr:relSizeAnchor>
  <cdr:relSizeAnchor xmlns:cdr="http://schemas.openxmlformats.org/drawingml/2006/chartDrawing">
    <cdr:from>
      <cdr:x>0.35781</cdr:x>
      <cdr:y>0.20794</cdr:y>
    </cdr:from>
    <cdr:to>
      <cdr:x>0.41978</cdr:x>
      <cdr:y>0.33538</cdr:y>
    </cdr:to>
    <cdr:sp macro="" textlink="">
      <cdr:nvSpPr>
        <cdr:cNvPr id="5" name="Arrow: Down 4">
          <a:extLst xmlns:a="http://schemas.openxmlformats.org/drawingml/2006/main">
            <a:ext uri="{FF2B5EF4-FFF2-40B4-BE49-F238E27FC236}">
              <a16:creationId xmlns:a16="http://schemas.microsoft.com/office/drawing/2014/main" id="{A5B50350-FF90-497D-80EA-C7B6047A9C32}"/>
            </a:ext>
          </a:extLst>
        </cdr:cNvPr>
        <cdr:cNvSpPr/>
      </cdr:nvSpPr>
      <cdr:spPr>
        <a:xfrm xmlns:a="http://schemas.openxmlformats.org/drawingml/2006/main">
          <a:off x="1396440" y="817661"/>
          <a:ext cx="241857" cy="501135"/>
        </a:xfrm>
        <a:prstGeom xmlns:a="http://schemas.openxmlformats.org/drawingml/2006/main" prst="downArrow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AD9EB3-C178-4C3E-95A0-C7C056F5C05E}" type="datetimeFigureOut">
              <a:rPr lang="en-US" smtClean="0"/>
              <a:t>11/3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894631-1DB1-4F1A-B9B9-A1F5063DE5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774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D8BF41-7B54-4CF1-9536-2872910B101A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39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D8BF41-7B54-4CF1-9536-2872910B101A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161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fractalites" TargetMode="External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hyperlink" Target="http://www.linkedin.com/groups/Predictive-Analytics-Network-PAN-1849479" TargetMode="External"/><Relationship Id="rId4" Type="http://schemas.openxmlformats.org/officeDocument/2006/relationships/hyperlink" Target="http://www.linkedin.com/company/fractal-analytics?trk=company_name" TargetMode="Externa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C7738B3F-CE6F-42B3-BE6A-76A9AD8B1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0574" y="4480573"/>
            <a:ext cx="9250276" cy="3416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defRPr lang="en-US" sz="1800" b="0" dirty="0"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 marL="228600" lvl="0" indent="-228600" defTabSz="411163" eaLnBrk="0" fontAlgn="base" hangingPunct="0">
              <a:spcAft>
                <a:spcPct val="0"/>
              </a:spcAft>
              <a:buFont typeface="Arial" panose="020B0604020202020204" pitchFamily="34" charset="0"/>
            </a:pPr>
            <a:r>
              <a:rPr lang="en-US" dirty="0"/>
              <a:t>Presenter Nam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B673639-2F00-4277-9720-1D117B457D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677" y="1578354"/>
            <a:ext cx="5716023" cy="1757128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EA7D0E3-D319-4C53-BD17-5A410FFAF6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60573" y="3846519"/>
            <a:ext cx="9249369" cy="5355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buNone/>
              <a:defRPr lang="en-US" sz="3200" b="0" dirty="0">
                <a:ln>
                  <a:noFill/>
                </a:ln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Tit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8F6D342-4C03-4B5A-B5EB-8E74F6FDB290}"/>
              </a:ext>
            </a:extLst>
          </p:cNvPr>
          <p:cNvGrpSpPr/>
          <p:nvPr/>
        </p:nvGrpSpPr>
        <p:grpSpPr>
          <a:xfrm>
            <a:off x="-7938" y="6748463"/>
            <a:ext cx="12204701" cy="119062"/>
            <a:chOff x="-7938" y="6748463"/>
            <a:chExt cx="12204701" cy="119062"/>
          </a:xfrm>
        </p:grpSpPr>
        <p:sp>
          <p:nvSpPr>
            <p:cNvPr id="19" name="Rectangle 3">
              <a:extLst>
                <a:ext uri="{FF2B5EF4-FFF2-40B4-BE49-F238E27FC236}">
                  <a16:creationId xmlns:a16="http://schemas.microsoft.com/office/drawing/2014/main" id="{90B5701E-7B0C-416E-849C-FA3517C42ADE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66119" y="4774406"/>
              <a:ext cx="119062" cy="4067176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0" name="Rectangle 4">
              <a:extLst>
                <a:ext uri="{FF2B5EF4-FFF2-40B4-BE49-F238E27FC236}">
                  <a16:creationId xmlns:a16="http://schemas.microsoft.com/office/drawing/2014/main" id="{905BE0B7-115B-4C99-BA9D-BD6C3FE10F1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4882" y="4769644"/>
              <a:ext cx="119062" cy="4076700"/>
            </a:xfrm>
            <a:prstGeom prst="rect">
              <a:avLst/>
            </a:prstGeom>
            <a:solidFill>
              <a:srgbClr val="FFB81C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1" name="Rectangle 5">
              <a:extLst>
                <a:ext uri="{FF2B5EF4-FFF2-40B4-BE49-F238E27FC236}">
                  <a16:creationId xmlns:a16="http://schemas.microsoft.com/office/drawing/2014/main" id="{527C30D2-A90A-46FB-96F9-52B6D694F56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03645" y="4774406"/>
              <a:ext cx="119062" cy="4067175"/>
            </a:xfrm>
            <a:prstGeom prst="rect">
              <a:avLst/>
            </a:prstGeom>
            <a:solidFill>
              <a:srgbClr val="007DBA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839C3A3-4422-40F9-A7EB-B37293AB47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0574" y="4920728"/>
            <a:ext cx="5575300" cy="2862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buNone/>
              <a:defRPr lang="en-US" sz="1400" b="0" i="0" dirty="0" smtClean="0"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457200" indent="0">
              <a:buNone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Month/Day/Year</a:t>
            </a:r>
          </a:p>
        </p:txBody>
      </p:sp>
      <p:pic>
        <p:nvPicPr>
          <p:cNvPr id="10" name="Picture 8" descr="pasted-image.pdf">
            <a:extLst>
              <a:ext uri="{FF2B5EF4-FFF2-40B4-BE49-F238E27FC236}">
                <a16:creationId xmlns:a16="http://schemas.microsoft.com/office/drawing/2014/main" id="{B4BDBC7A-3807-48BC-8753-6040D39C96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6775" y="6172518"/>
            <a:ext cx="1778450" cy="374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206059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B9BA9B-EC0E-4FED-918C-9C314506713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92A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F3C81E96-E643-4881-98F3-1CF6F22D31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68730" y="4785816"/>
            <a:ext cx="557530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buNone/>
              <a:defRPr lang="en-US" sz="2000" b="0" i="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457200" indent="0">
              <a:buNone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Month/Day/Year</a:t>
            </a:r>
          </a:p>
        </p:txBody>
      </p:sp>
      <p:pic>
        <p:nvPicPr>
          <p:cNvPr id="7" name="Picture 6" descr="A close up of a logo&#10;&#10;Description generated with high confidence">
            <a:extLst>
              <a:ext uri="{FF2B5EF4-FFF2-40B4-BE49-F238E27FC236}">
                <a16:creationId xmlns:a16="http://schemas.microsoft.com/office/drawing/2014/main" id="{0B89B575-6AAF-4447-8DD9-4927589C08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64" y="2157511"/>
            <a:ext cx="5711209" cy="1755648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EA7D0E3-D319-4C53-BD17-5A410FFAF6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8730" y="4116342"/>
            <a:ext cx="6345936" cy="49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29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Presenter Nam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C91AC2-90F7-40D5-8F03-3B91C458B4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8730" y="2374110"/>
            <a:ext cx="6408419" cy="15029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>
              <a:lnSpc>
                <a:spcPts val="5500"/>
              </a:lnSpc>
              <a:defRPr lang="en-US" sz="58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  <a:sym typeface="Helvetica Neue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 goes here</a:t>
            </a:r>
          </a:p>
        </p:txBody>
      </p:sp>
      <p:pic>
        <p:nvPicPr>
          <p:cNvPr id="6" name="Picture 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CC80D49-AAFB-4CA9-8ED5-DF5AC4D7E6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8678" y="6166612"/>
            <a:ext cx="1754644" cy="376428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21C764B-5364-4692-8B59-4734C85E06F7}"/>
              </a:ext>
            </a:extLst>
          </p:cNvPr>
          <p:cNvGrpSpPr/>
          <p:nvPr/>
        </p:nvGrpSpPr>
        <p:grpSpPr>
          <a:xfrm>
            <a:off x="-7938" y="6748463"/>
            <a:ext cx="12204701" cy="119062"/>
            <a:chOff x="-7938" y="6748463"/>
            <a:chExt cx="12204701" cy="119062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DDC9D669-FEBC-4E38-92CF-21D4231D4AE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66119" y="4774406"/>
              <a:ext cx="119062" cy="4067176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B584ADC0-6221-4AFD-B6A2-3036E810C5F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4882" y="4769644"/>
              <a:ext cx="119062" cy="4076700"/>
            </a:xfrm>
            <a:prstGeom prst="rect">
              <a:avLst/>
            </a:prstGeom>
            <a:solidFill>
              <a:srgbClr val="FFB81C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E5A23E1D-F712-46A2-95E6-D77D0B9AB45D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03645" y="4774406"/>
              <a:ext cx="119062" cy="4067175"/>
            </a:xfrm>
            <a:prstGeom prst="rect">
              <a:avLst/>
            </a:prstGeom>
            <a:solidFill>
              <a:srgbClr val="007DBA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9287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888" y="285178"/>
            <a:ext cx="11621212" cy="658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4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2ECC2CC-A327-45EA-AD51-2A770596F54A}"/>
              </a:ext>
            </a:extLst>
          </p:cNvPr>
          <p:cNvGrpSpPr/>
          <p:nvPr/>
        </p:nvGrpSpPr>
        <p:grpSpPr>
          <a:xfrm>
            <a:off x="-7938" y="6748463"/>
            <a:ext cx="12204701" cy="119062"/>
            <a:chOff x="-7938" y="6748463"/>
            <a:chExt cx="12204701" cy="119062"/>
          </a:xfrm>
        </p:grpSpPr>
        <p:sp>
          <p:nvSpPr>
            <p:cNvPr id="10" name="Rectangle 3">
              <a:extLst>
                <a:ext uri="{FF2B5EF4-FFF2-40B4-BE49-F238E27FC236}">
                  <a16:creationId xmlns:a16="http://schemas.microsoft.com/office/drawing/2014/main" id="{5900442C-A124-479B-AA20-34E6316BF4A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66119" y="4774406"/>
              <a:ext cx="119062" cy="4067176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id="{F938338D-C00E-47EA-B475-28FF2B6197A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4882" y="4769644"/>
              <a:ext cx="119062" cy="4076700"/>
            </a:xfrm>
            <a:prstGeom prst="rect">
              <a:avLst/>
            </a:prstGeom>
            <a:solidFill>
              <a:srgbClr val="FFB81C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59BADD68-69CE-44C1-BCAF-A3A8DC0F0CE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03645" y="4774406"/>
              <a:ext cx="119062" cy="4067175"/>
            </a:xfrm>
            <a:prstGeom prst="rect">
              <a:avLst/>
            </a:prstGeom>
            <a:solidFill>
              <a:srgbClr val="007DBA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pic>
        <p:nvPicPr>
          <p:cNvPr id="14" name="Picture 8" descr="pasted-image.pdf">
            <a:extLst>
              <a:ext uri="{FF2B5EF4-FFF2-40B4-BE49-F238E27FC236}">
                <a16:creationId xmlns:a16="http://schemas.microsoft.com/office/drawing/2014/main" id="{5B9C4F86-ADFE-4E90-B04B-8132DE538A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1957" y="6370638"/>
            <a:ext cx="1204912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2">
            <a:extLst>
              <a:ext uri="{FF2B5EF4-FFF2-40B4-BE49-F238E27FC236}">
                <a16:creationId xmlns:a16="http://schemas.microsoft.com/office/drawing/2014/main" id="{04918F1D-0731-4965-A75B-883089B34B73}"/>
              </a:ext>
            </a:extLst>
          </p:cNvPr>
          <p:cNvSpPr txBox="1">
            <a:spLocks/>
          </p:cNvSpPr>
          <p:nvPr/>
        </p:nvSpPr>
        <p:spPr>
          <a:xfrm>
            <a:off x="358515" y="6539285"/>
            <a:ext cx="3201704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dirty="0">
                <a:solidFill>
                  <a:schemeClr val="accent4"/>
                </a:solidFill>
                <a:latin typeface="+mn-lt"/>
              </a:rPr>
              <a:t>© 2018 Fractal Analytics Inc. All rights reserved |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518392-17C7-4474-874F-43765B29DE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8574" y="1485900"/>
            <a:ext cx="11580526" cy="47053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/>
            </a:lvl1pPr>
            <a:lvl2pPr marL="465138" indent="-233363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/>
            </a:lvl2pPr>
            <a:lvl3pPr marL="682625" indent="-2174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6645189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indoor&#10;&#10;Description generated with high confidence">
            <a:extLst>
              <a:ext uri="{FF2B5EF4-FFF2-40B4-BE49-F238E27FC236}">
                <a16:creationId xmlns:a16="http://schemas.microsoft.com/office/drawing/2014/main" id="{76D9D69F-D18E-4577-B895-ACDAC77DD4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19" b="1173"/>
          <a:stretch/>
        </p:blipFill>
        <p:spPr>
          <a:xfrm>
            <a:off x="-6794" y="0"/>
            <a:ext cx="12198794" cy="6858000"/>
          </a:xfrm>
          <a:prstGeom prst="rect">
            <a:avLst/>
          </a:prstGeom>
        </p:spPr>
      </p:pic>
      <p:pic>
        <p:nvPicPr>
          <p:cNvPr id="23" name="Picture 22" descr="A close up of a logo&#10;&#10;Description generated with high confidence">
            <a:extLst>
              <a:ext uri="{FF2B5EF4-FFF2-40B4-BE49-F238E27FC236}">
                <a16:creationId xmlns:a16="http://schemas.microsoft.com/office/drawing/2014/main" id="{3FCDAEA1-6362-49A5-B3D3-FED2899A92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364" y="2538511"/>
            <a:ext cx="5711209" cy="17556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C91AC2-90F7-40D5-8F03-3B91C458B4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73530" y="3069671"/>
            <a:ext cx="5262699" cy="7976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>
              <a:lnSpc>
                <a:spcPts val="5500"/>
              </a:lnSpc>
              <a:defRPr lang="en-US" sz="58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  <a:sym typeface="Helvetica Neue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Title goes her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10C1AF6-850F-496F-8BF5-3A98CCE5C897}"/>
              </a:ext>
            </a:extLst>
          </p:cNvPr>
          <p:cNvGrpSpPr/>
          <p:nvPr/>
        </p:nvGrpSpPr>
        <p:grpSpPr>
          <a:xfrm>
            <a:off x="-7938" y="6748463"/>
            <a:ext cx="12204701" cy="119062"/>
            <a:chOff x="-7938" y="6748463"/>
            <a:chExt cx="12204701" cy="119062"/>
          </a:xfrm>
        </p:grpSpPr>
        <p:sp>
          <p:nvSpPr>
            <p:cNvPr id="20" name="Rectangle 3">
              <a:extLst>
                <a:ext uri="{FF2B5EF4-FFF2-40B4-BE49-F238E27FC236}">
                  <a16:creationId xmlns:a16="http://schemas.microsoft.com/office/drawing/2014/main" id="{44446A37-CA04-473A-88A8-212D1B673447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66119" y="4774406"/>
              <a:ext cx="119062" cy="4067176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1" name="Rectangle 4">
              <a:extLst>
                <a:ext uri="{FF2B5EF4-FFF2-40B4-BE49-F238E27FC236}">
                  <a16:creationId xmlns:a16="http://schemas.microsoft.com/office/drawing/2014/main" id="{CD15CF51-0A5D-49F6-8CF4-E830A2C0123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4882" y="4769644"/>
              <a:ext cx="119062" cy="4076700"/>
            </a:xfrm>
            <a:prstGeom prst="rect">
              <a:avLst/>
            </a:prstGeom>
            <a:solidFill>
              <a:srgbClr val="FFB81C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2" name="Rectangle 5">
              <a:extLst>
                <a:ext uri="{FF2B5EF4-FFF2-40B4-BE49-F238E27FC236}">
                  <a16:creationId xmlns:a16="http://schemas.microsoft.com/office/drawing/2014/main" id="{68730573-DC34-4BE4-8825-E726B819723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03645" y="4774406"/>
              <a:ext cx="119062" cy="4067175"/>
            </a:xfrm>
            <a:prstGeom prst="rect">
              <a:avLst/>
            </a:prstGeom>
            <a:solidFill>
              <a:srgbClr val="007DBA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34233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B9BA9B-EC0E-4FED-918C-9C314506713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 descr="A close up of a logo&#10;&#10;Description generated with high confidence">
            <a:extLst>
              <a:ext uri="{FF2B5EF4-FFF2-40B4-BE49-F238E27FC236}">
                <a16:creationId xmlns:a16="http://schemas.microsoft.com/office/drawing/2014/main" id="{C7243E7C-E7C2-4ABB-8902-843D991C09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364" y="2538511"/>
            <a:ext cx="5711209" cy="17556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C91AC2-90F7-40D5-8F03-3B91C458B4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68531" y="2753712"/>
            <a:ext cx="5379719" cy="15029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>
              <a:lnSpc>
                <a:spcPts val="5500"/>
              </a:lnSpc>
              <a:defRPr lang="en-US" sz="58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  <a:sym typeface="Helvetica Neue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Title goes he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C460BD5-BFA0-41BE-97F1-039F1BAFB837}"/>
              </a:ext>
            </a:extLst>
          </p:cNvPr>
          <p:cNvGrpSpPr/>
          <p:nvPr/>
        </p:nvGrpSpPr>
        <p:grpSpPr>
          <a:xfrm>
            <a:off x="-7938" y="6748463"/>
            <a:ext cx="12204701" cy="119062"/>
            <a:chOff x="-7938" y="6748463"/>
            <a:chExt cx="12204701" cy="119062"/>
          </a:xfrm>
        </p:grpSpPr>
        <p:sp>
          <p:nvSpPr>
            <p:cNvPr id="17" name="Rectangle 3">
              <a:extLst>
                <a:ext uri="{FF2B5EF4-FFF2-40B4-BE49-F238E27FC236}">
                  <a16:creationId xmlns:a16="http://schemas.microsoft.com/office/drawing/2014/main" id="{FB9D86C4-FE5B-408D-A214-CCC5FA8BAEBD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66119" y="4774406"/>
              <a:ext cx="119062" cy="4067176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8" name="Rectangle 4">
              <a:extLst>
                <a:ext uri="{FF2B5EF4-FFF2-40B4-BE49-F238E27FC236}">
                  <a16:creationId xmlns:a16="http://schemas.microsoft.com/office/drawing/2014/main" id="{A3BDDF72-B1C9-4309-9807-2A04D8DACD1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4882" y="4769644"/>
              <a:ext cx="119062" cy="4076700"/>
            </a:xfrm>
            <a:prstGeom prst="rect">
              <a:avLst/>
            </a:prstGeom>
            <a:solidFill>
              <a:srgbClr val="FFB81C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9" name="Rectangle 5">
              <a:extLst>
                <a:ext uri="{FF2B5EF4-FFF2-40B4-BE49-F238E27FC236}">
                  <a16:creationId xmlns:a16="http://schemas.microsoft.com/office/drawing/2014/main" id="{A1D35C2B-FD67-489F-9340-1CDE16F8CBD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03645" y="4774406"/>
              <a:ext cx="119062" cy="4067175"/>
            </a:xfrm>
            <a:prstGeom prst="rect">
              <a:avLst/>
            </a:prstGeom>
            <a:solidFill>
              <a:srgbClr val="007DBA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93172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2">
            <a:extLst>
              <a:ext uri="{FF2B5EF4-FFF2-40B4-BE49-F238E27FC236}">
                <a16:creationId xmlns:a16="http://schemas.microsoft.com/office/drawing/2014/main" id="{C34E5C93-4443-4757-970E-C40E26CC7322}"/>
              </a:ext>
            </a:extLst>
          </p:cNvPr>
          <p:cNvSpPr txBox="1">
            <a:spLocks/>
          </p:cNvSpPr>
          <p:nvPr/>
        </p:nvSpPr>
        <p:spPr bwMode="auto">
          <a:xfrm>
            <a:off x="6310313" y="2733821"/>
            <a:ext cx="4248150" cy="1253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711" tIns="35711" rIns="35711" bIns="35711">
            <a:spAutoFit/>
          </a:bodyPr>
          <a:lstStyle>
            <a:lvl1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1pPr>
            <a:lvl2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2pPr>
            <a:lvl3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3pPr>
            <a:lvl4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4pPr>
            <a:lvl5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5pPr>
            <a:lvl6pPr marL="1370013" indent="-455613" algn="ctr" defTabSz="820738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6pPr>
            <a:lvl7pPr marL="1827213" indent="-455613" algn="ctr" defTabSz="820738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7pPr>
            <a:lvl8pPr marL="2284413" indent="-455613" algn="ctr" defTabSz="820738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8pPr>
            <a:lvl9pPr marL="2741613" indent="-455613" algn="ctr" defTabSz="820738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9pPr>
          </a:lstStyle>
          <a:p>
            <a:pPr algn="l" eaLnBrk="1">
              <a:lnSpc>
                <a:spcPct val="120000"/>
              </a:lnSpc>
            </a:pPr>
            <a:r>
              <a:rPr lang="en-US" altLang="en-US" sz="1600" b="0" dirty="0">
                <a:solidFill>
                  <a:srgbClr val="53585F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A strategic analytics partner to the most admired </a:t>
            </a:r>
          </a:p>
          <a:p>
            <a:pPr algn="l" eaLnBrk="1">
              <a:lnSpc>
                <a:spcPct val="120000"/>
              </a:lnSpc>
            </a:pPr>
            <a:r>
              <a:rPr lang="en-US" altLang="en-US" sz="1600" b="0" dirty="0">
                <a:solidFill>
                  <a:srgbClr val="53585F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fortune 500 companies globally and helps them power every Human decision in the enterprise by bringing analytics &amp; AI to the Decision.</a:t>
            </a:r>
          </a:p>
        </p:txBody>
      </p:sp>
      <p:sp>
        <p:nvSpPr>
          <p:cNvPr id="9" name="Line 6">
            <a:extLst>
              <a:ext uri="{FF2B5EF4-FFF2-40B4-BE49-F238E27FC236}">
                <a16:creationId xmlns:a16="http://schemas.microsoft.com/office/drawing/2014/main" id="{A67FE333-4E98-41ED-935A-FA352533BA7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043613" y="2868686"/>
            <a:ext cx="0" cy="984250"/>
          </a:xfrm>
          <a:prstGeom prst="line">
            <a:avLst/>
          </a:prstGeom>
          <a:noFill/>
          <a:ln w="38100" cap="rnd">
            <a:solidFill>
              <a:srgbClr val="53585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25395" tIns="25395" rIns="25395" bIns="25395" anchor="ctr"/>
          <a:lstStyle/>
          <a:p>
            <a:endParaRPr lang="en-US" dirty="0"/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CA085DAE-539E-4BF4-8A6B-4C8E6A6947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650" y="2863130"/>
            <a:ext cx="3494088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3">
            <a:extLst>
              <a:ext uri="{FF2B5EF4-FFF2-40B4-BE49-F238E27FC236}">
                <a16:creationId xmlns:a16="http://schemas.microsoft.com/office/drawing/2014/main" id="{2D59A93E-D00F-41CF-8FE0-F8974C055DD6}"/>
              </a:ext>
            </a:extLst>
          </p:cNvPr>
          <p:cNvSpPr txBox="1">
            <a:spLocks/>
          </p:cNvSpPr>
          <p:nvPr/>
        </p:nvSpPr>
        <p:spPr bwMode="auto">
          <a:xfrm>
            <a:off x="9980145" y="6303936"/>
            <a:ext cx="18923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711" tIns="35711" rIns="35711" bIns="35711">
            <a:spAutoFit/>
          </a:bodyPr>
          <a:lstStyle>
            <a:lvl1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1pPr>
            <a:lvl2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2pPr>
            <a:lvl3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3pPr>
            <a:lvl4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4pPr>
            <a:lvl5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5pPr>
            <a:lvl6pPr marL="1370013" indent="-455613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6pPr>
            <a:lvl7pPr marL="1827213" indent="-455613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7pPr>
            <a:lvl8pPr marL="2284413" indent="-455613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8pPr>
            <a:lvl9pPr marL="2741613" indent="-455613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9pPr>
          </a:lstStyle>
          <a:p>
            <a:pPr algn="l" eaLnBrk="1"/>
            <a:r>
              <a:rPr lang="en-US" altLang="en-US" sz="1200" b="0" dirty="0">
                <a:solidFill>
                  <a:srgbClr val="53585F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www.fractalanalytics.com</a:t>
            </a:r>
          </a:p>
        </p:txBody>
      </p:sp>
      <p:sp>
        <p:nvSpPr>
          <p:cNvPr id="17" name="Freeform 6">
            <a:hlinkClick r:id="rId3"/>
            <a:extLst>
              <a:ext uri="{FF2B5EF4-FFF2-40B4-BE49-F238E27FC236}">
                <a16:creationId xmlns:a16="http://schemas.microsoft.com/office/drawing/2014/main" id="{A2F3976C-F699-4893-BC32-EBA2DD690DCE}"/>
              </a:ext>
            </a:extLst>
          </p:cNvPr>
          <p:cNvSpPr>
            <a:spLocks noEditPoints="1"/>
          </p:cNvSpPr>
          <p:nvPr/>
        </p:nvSpPr>
        <p:spPr bwMode="auto">
          <a:xfrm>
            <a:off x="8698913" y="6281136"/>
            <a:ext cx="282268" cy="305878"/>
          </a:xfrm>
          <a:custGeom>
            <a:avLst/>
            <a:gdLst>
              <a:gd name="T0" fmla="*/ 6321 w 8634"/>
              <a:gd name="T1" fmla="*/ 3305 h 9592"/>
              <a:gd name="T2" fmla="*/ 6622 w 8634"/>
              <a:gd name="T3" fmla="*/ 3222 h 9592"/>
              <a:gd name="T4" fmla="*/ 6304 w 8634"/>
              <a:gd name="T5" fmla="*/ 3665 h 9592"/>
              <a:gd name="T6" fmla="*/ 5563 w 8634"/>
              <a:gd name="T7" fmla="*/ 5255 h 9592"/>
              <a:gd name="T8" fmla="*/ 4494 w 8634"/>
              <a:gd name="T9" fmla="*/ 5709 h 9592"/>
              <a:gd name="T10" fmla="*/ 3218 w 8634"/>
              <a:gd name="T11" fmla="*/ 5420 h 9592"/>
              <a:gd name="T12" fmla="*/ 3739 w 8634"/>
              <a:gd name="T13" fmla="*/ 5338 h 9592"/>
              <a:gd name="T14" fmla="*/ 4172 w 8634"/>
              <a:gd name="T15" fmla="*/ 5136 h 9592"/>
              <a:gd name="T16" fmla="*/ 3575 w 8634"/>
              <a:gd name="T17" fmla="*/ 4644 h 9592"/>
              <a:gd name="T18" fmla="*/ 3600 w 8634"/>
              <a:gd name="T19" fmla="*/ 4634 h 9592"/>
              <a:gd name="T20" fmla="*/ 3818 w 8634"/>
              <a:gd name="T21" fmla="*/ 4598 h 9592"/>
              <a:gd name="T22" fmla="*/ 3295 w 8634"/>
              <a:gd name="T23" fmla="*/ 3892 h 9592"/>
              <a:gd name="T24" fmla="*/ 3558 w 8634"/>
              <a:gd name="T25" fmla="*/ 3942 h 9592"/>
              <a:gd name="T26" fmla="*/ 3412 w 8634"/>
              <a:gd name="T27" fmla="*/ 3003 h 9592"/>
              <a:gd name="T28" fmla="*/ 3991 w 8634"/>
              <a:gd name="T29" fmla="*/ 3486 h 9592"/>
              <a:gd name="T30" fmla="*/ 4863 w 8634"/>
              <a:gd name="T31" fmla="*/ 3748 h 9592"/>
              <a:gd name="T32" fmla="*/ 6009 w 8634"/>
              <a:gd name="T33" fmla="*/ 3024 h 9592"/>
              <a:gd name="T34" fmla="*/ 6538 w 8634"/>
              <a:gd name="T35" fmla="*/ 2936 h 9592"/>
              <a:gd name="T36" fmla="*/ 6321 w 8634"/>
              <a:gd name="T37" fmla="*/ 3305 h 9592"/>
              <a:gd name="T38" fmla="*/ 8393 w 8634"/>
              <a:gd name="T39" fmla="*/ 4538 h 9592"/>
              <a:gd name="T40" fmla="*/ 3555 w 8634"/>
              <a:gd name="T41" fmla="*/ 990 h 9592"/>
              <a:gd name="T42" fmla="*/ 1699 w 8634"/>
              <a:gd name="T43" fmla="*/ 2664 h 9592"/>
              <a:gd name="T44" fmla="*/ 7236 w 8634"/>
              <a:gd name="T45" fmla="*/ 6930 h 9592"/>
              <a:gd name="T46" fmla="*/ 8393 w 8634"/>
              <a:gd name="T47" fmla="*/ 4538 h 9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634" h="9592">
                <a:moveTo>
                  <a:pt x="6321" y="3305"/>
                </a:moveTo>
                <a:lnTo>
                  <a:pt x="6622" y="3222"/>
                </a:lnTo>
                <a:cubicBezTo>
                  <a:pt x="6520" y="3400"/>
                  <a:pt x="6336" y="3508"/>
                  <a:pt x="6304" y="3665"/>
                </a:cubicBezTo>
                <a:cubicBezTo>
                  <a:pt x="6198" y="4171"/>
                  <a:pt x="6196" y="4748"/>
                  <a:pt x="5563" y="5255"/>
                </a:cubicBezTo>
                <a:cubicBezTo>
                  <a:pt x="5297" y="5468"/>
                  <a:pt x="4960" y="5664"/>
                  <a:pt x="4494" y="5709"/>
                </a:cubicBezTo>
                <a:cubicBezTo>
                  <a:pt x="4093" y="5749"/>
                  <a:pt x="3440" y="5639"/>
                  <a:pt x="3218" y="5420"/>
                </a:cubicBezTo>
                <a:cubicBezTo>
                  <a:pt x="3350" y="5361"/>
                  <a:pt x="3576" y="5384"/>
                  <a:pt x="3739" y="5338"/>
                </a:cubicBezTo>
                <a:cubicBezTo>
                  <a:pt x="3916" y="5289"/>
                  <a:pt x="4054" y="5210"/>
                  <a:pt x="4172" y="5136"/>
                </a:cubicBezTo>
                <a:cubicBezTo>
                  <a:pt x="4013" y="5025"/>
                  <a:pt x="3707" y="5000"/>
                  <a:pt x="3575" y="4644"/>
                </a:cubicBezTo>
                <a:cubicBezTo>
                  <a:pt x="3583" y="4639"/>
                  <a:pt x="3596" y="4626"/>
                  <a:pt x="3600" y="4634"/>
                </a:cubicBezTo>
                <a:lnTo>
                  <a:pt x="3818" y="4598"/>
                </a:lnTo>
                <a:cubicBezTo>
                  <a:pt x="3508" y="4393"/>
                  <a:pt x="3360" y="4352"/>
                  <a:pt x="3295" y="3892"/>
                </a:cubicBezTo>
                <a:lnTo>
                  <a:pt x="3558" y="3942"/>
                </a:lnTo>
                <a:cubicBezTo>
                  <a:pt x="3373" y="3718"/>
                  <a:pt x="3184" y="3367"/>
                  <a:pt x="3412" y="3003"/>
                </a:cubicBezTo>
                <a:cubicBezTo>
                  <a:pt x="3614" y="3174"/>
                  <a:pt x="3609" y="3272"/>
                  <a:pt x="3991" y="3486"/>
                </a:cubicBezTo>
                <a:cubicBezTo>
                  <a:pt x="4253" y="3632"/>
                  <a:pt x="4505" y="3715"/>
                  <a:pt x="4863" y="3748"/>
                </a:cubicBezTo>
                <a:cubicBezTo>
                  <a:pt x="4837" y="3016"/>
                  <a:pt x="5390" y="2650"/>
                  <a:pt x="6009" y="3024"/>
                </a:cubicBezTo>
                <a:cubicBezTo>
                  <a:pt x="6201" y="3141"/>
                  <a:pt x="6311" y="3009"/>
                  <a:pt x="6538" y="2936"/>
                </a:cubicBezTo>
                <a:cubicBezTo>
                  <a:pt x="6481" y="3106"/>
                  <a:pt x="6394" y="3160"/>
                  <a:pt x="6321" y="3305"/>
                </a:cubicBezTo>
                <a:close/>
                <a:moveTo>
                  <a:pt x="8393" y="4538"/>
                </a:moveTo>
                <a:cubicBezTo>
                  <a:pt x="8634" y="2125"/>
                  <a:pt x="6090" y="0"/>
                  <a:pt x="3555" y="990"/>
                </a:cubicBezTo>
                <a:cubicBezTo>
                  <a:pt x="2733" y="1311"/>
                  <a:pt x="2094" y="1889"/>
                  <a:pt x="1699" y="2664"/>
                </a:cubicBezTo>
                <a:cubicBezTo>
                  <a:pt x="0" y="5997"/>
                  <a:pt x="3979" y="9592"/>
                  <a:pt x="7236" y="6930"/>
                </a:cubicBezTo>
                <a:cubicBezTo>
                  <a:pt x="7915" y="6376"/>
                  <a:pt x="8302" y="5446"/>
                  <a:pt x="8393" y="4538"/>
                </a:cubicBezTo>
                <a:close/>
              </a:path>
            </a:pathLst>
          </a:cu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Freeform 11">
            <a:hlinkClick r:id="rId4"/>
            <a:extLst>
              <a:ext uri="{FF2B5EF4-FFF2-40B4-BE49-F238E27FC236}">
                <a16:creationId xmlns:a16="http://schemas.microsoft.com/office/drawing/2014/main" id="{D9376647-0F3C-4639-8DAB-2D92ABD8BAD9}"/>
              </a:ext>
            </a:extLst>
          </p:cNvPr>
          <p:cNvSpPr>
            <a:spLocks noEditPoints="1"/>
          </p:cNvSpPr>
          <p:nvPr/>
        </p:nvSpPr>
        <p:spPr bwMode="auto">
          <a:xfrm>
            <a:off x="9057567" y="6316207"/>
            <a:ext cx="240608" cy="235736"/>
          </a:xfrm>
          <a:custGeom>
            <a:avLst/>
            <a:gdLst>
              <a:gd name="T0" fmla="*/ 1829 w 7029"/>
              <a:gd name="T1" fmla="*/ 2378 h 7017"/>
              <a:gd name="T2" fmla="*/ 2499 w 7029"/>
              <a:gd name="T3" fmla="*/ 2376 h 7017"/>
              <a:gd name="T4" fmla="*/ 2495 w 7029"/>
              <a:gd name="T5" fmla="*/ 4751 h 7017"/>
              <a:gd name="T6" fmla="*/ 1829 w 7029"/>
              <a:gd name="T7" fmla="*/ 4741 h 7017"/>
              <a:gd name="T8" fmla="*/ 1829 w 7029"/>
              <a:gd name="T9" fmla="*/ 2378 h 7017"/>
              <a:gd name="T10" fmla="*/ 3807 w 7029"/>
              <a:gd name="T11" fmla="*/ 2623 h 7017"/>
              <a:gd name="T12" fmla="*/ 5220 w 7029"/>
              <a:gd name="T13" fmla="*/ 2756 h 7017"/>
              <a:gd name="T14" fmla="*/ 5359 w 7029"/>
              <a:gd name="T15" fmla="*/ 4751 h 7017"/>
              <a:gd name="T16" fmla="*/ 4688 w 7029"/>
              <a:gd name="T17" fmla="*/ 4739 h 7017"/>
              <a:gd name="T18" fmla="*/ 4688 w 7029"/>
              <a:gd name="T19" fmla="*/ 3585 h 7017"/>
              <a:gd name="T20" fmla="*/ 4216 w 7029"/>
              <a:gd name="T21" fmla="*/ 2871 h 7017"/>
              <a:gd name="T22" fmla="*/ 3788 w 7029"/>
              <a:gd name="T23" fmla="*/ 3621 h 7017"/>
              <a:gd name="T24" fmla="*/ 3788 w 7029"/>
              <a:gd name="T25" fmla="*/ 4750 h 7017"/>
              <a:gd name="T26" fmla="*/ 3119 w 7029"/>
              <a:gd name="T27" fmla="*/ 4746 h 7017"/>
              <a:gd name="T28" fmla="*/ 3123 w 7029"/>
              <a:gd name="T29" fmla="*/ 2377 h 7017"/>
              <a:gd name="T30" fmla="*/ 3807 w 7029"/>
              <a:gd name="T31" fmla="*/ 2623 h 7017"/>
              <a:gd name="T32" fmla="*/ 2078 w 7029"/>
              <a:gd name="T33" fmla="*/ 1430 h 7017"/>
              <a:gd name="T34" fmla="*/ 2300 w 7029"/>
              <a:gd name="T35" fmla="*/ 2167 h 7017"/>
              <a:gd name="T36" fmla="*/ 2078 w 7029"/>
              <a:gd name="T37" fmla="*/ 1430 h 7017"/>
              <a:gd name="T38" fmla="*/ 3018 w 7029"/>
              <a:gd name="T39" fmla="*/ 294 h 7017"/>
              <a:gd name="T40" fmla="*/ 288 w 7029"/>
              <a:gd name="T41" fmla="*/ 3992 h 7017"/>
              <a:gd name="T42" fmla="*/ 4023 w 7029"/>
              <a:gd name="T43" fmla="*/ 6708 h 7017"/>
              <a:gd name="T44" fmla="*/ 6733 w 7029"/>
              <a:gd name="T45" fmla="*/ 3005 h 7017"/>
              <a:gd name="T46" fmla="*/ 3018 w 7029"/>
              <a:gd name="T47" fmla="*/ 294 h 7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7029" h="7017">
                <a:moveTo>
                  <a:pt x="1829" y="2378"/>
                </a:moveTo>
                <a:lnTo>
                  <a:pt x="2499" y="2376"/>
                </a:lnTo>
                <a:lnTo>
                  <a:pt x="2495" y="4751"/>
                </a:lnTo>
                <a:lnTo>
                  <a:pt x="1829" y="4741"/>
                </a:lnTo>
                <a:lnTo>
                  <a:pt x="1829" y="2378"/>
                </a:lnTo>
                <a:close/>
                <a:moveTo>
                  <a:pt x="3807" y="2623"/>
                </a:moveTo>
                <a:cubicBezTo>
                  <a:pt x="4148" y="2196"/>
                  <a:pt x="4940" y="2286"/>
                  <a:pt x="5220" y="2756"/>
                </a:cubicBezTo>
                <a:cubicBezTo>
                  <a:pt x="5446" y="3134"/>
                  <a:pt x="5370" y="4239"/>
                  <a:pt x="5359" y="4751"/>
                </a:cubicBezTo>
                <a:lnTo>
                  <a:pt x="4688" y="4739"/>
                </a:lnTo>
                <a:cubicBezTo>
                  <a:pt x="4691" y="4355"/>
                  <a:pt x="4688" y="3970"/>
                  <a:pt x="4688" y="3585"/>
                </a:cubicBezTo>
                <a:cubicBezTo>
                  <a:pt x="4688" y="3207"/>
                  <a:pt x="4670" y="2818"/>
                  <a:pt x="4216" y="2871"/>
                </a:cubicBezTo>
                <a:cubicBezTo>
                  <a:pt x="3845" y="2913"/>
                  <a:pt x="3786" y="3247"/>
                  <a:pt x="3788" y="3621"/>
                </a:cubicBezTo>
                <a:cubicBezTo>
                  <a:pt x="3790" y="3997"/>
                  <a:pt x="3788" y="4374"/>
                  <a:pt x="3788" y="4750"/>
                </a:cubicBezTo>
                <a:lnTo>
                  <a:pt x="3119" y="4746"/>
                </a:lnTo>
                <a:lnTo>
                  <a:pt x="3123" y="2377"/>
                </a:lnTo>
                <a:cubicBezTo>
                  <a:pt x="3927" y="2374"/>
                  <a:pt x="3741" y="2318"/>
                  <a:pt x="3807" y="2623"/>
                </a:cubicBezTo>
                <a:close/>
                <a:moveTo>
                  <a:pt x="2078" y="1430"/>
                </a:moveTo>
                <a:cubicBezTo>
                  <a:pt x="2577" y="1304"/>
                  <a:pt x="2732" y="2029"/>
                  <a:pt x="2300" y="2167"/>
                </a:cubicBezTo>
                <a:cubicBezTo>
                  <a:pt x="1779" y="2333"/>
                  <a:pt x="1529" y="1568"/>
                  <a:pt x="2078" y="1430"/>
                </a:cubicBezTo>
                <a:close/>
                <a:moveTo>
                  <a:pt x="3018" y="294"/>
                </a:moveTo>
                <a:cubicBezTo>
                  <a:pt x="1398" y="540"/>
                  <a:pt x="0" y="2030"/>
                  <a:pt x="288" y="3992"/>
                </a:cubicBezTo>
                <a:cubicBezTo>
                  <a:pt x="525" y="5610"/>
                  <a:pt x="2082" y="7017"/>
                  <a:pt x="4023" y="6708"/>
                </a:cubicBezTo>
                <a:cubicBezTo>
                  <a:pt x="5629" y="6453"/>
                  <a:pt x="7029" y="4935"/>
                  <a:pt x="6733" y="3005"/>
                </a:cubicBezTo>
                <a:cubicBezTo>
                  <a:pt x="6484" y="1382"/>
                  <a:pt x="4950" y="0"/>
                  <a:pt x="3018" y="294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9" name="Picture 15">
            <a:hlinkClick r:id="rId5"/>
            <a:extLst>
              <a:ext uri="{FF2B5EF4-FFF2-40B4-BE49-F238E27FC236}">
                <a16:creationId xmlns:a16="http://schemas.microsoft.com/office/drawing/2014/main" id="{CE1A4216-7C81-4649-9061-9884AA4860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4561" y="6335134"/>
            <a:ext cx="395766" cy="197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204537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2"/>
          <p:cNvSpPr txBox="1">
            <a:spLocks/>
          </p:cNvSpPr>
          <p:nvPr/>
        </p:nvSpPr>
        <p:spPr>
          <a:xfrm>
            <a:off x="65371" y="6695263"/>
            <a:ext cx="2540000" cy="120708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784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© Fractal 2017 | Confidential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12192000" cy="814896"/>
          </a:xfrm>
          <a:prstGeom prst="rect">
            <a:avLst/>
          </a:prstGeom>
          <a:solidFill>
            <a:srgbClr val="0070C0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3" tIns="0" rIns="121913" bIns="0" rtlCol="0" anchor="ctr" anchorCtr="0"/>
          <a:lstStyle/>
          <a:p>
            <a:pPr algn="ctr"/>
            <a:endParaRPr lang="en-US" sz="1568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itle Placeholder 2"/>
          <p:cNvSpPr>
            <a:spLocks noGrp="1"/>
          </p:cNvSpPr>
          <p:nvPr>
            <p:ph type="title"/>
          </p:nvPr>
        </p:nvSpPr>
        <p:spPr>
          <a:xfrm>
            <a:off x="76898" y="244518"/>
            <a:ext cx="12038203" cy="325858"/>
          </a:xfrm>
          <a:prstGeom prst="rect">
            <a:avLst/>
          </a:prstGeom>
        </p:spPr>
        <p:txBody>
          <a:bodyPr vert="horz" lIns="124358" tIns="0" rIns="124358" bIns="0" rtlCol="0" anchor="ctr">
            <a:spAutoFit/>
          </a:bodyPr>
          <a:lstStyle>
            <a:lvl1pPr>
              <a:defRPr sz="235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2"/>
          <p:cNvSpPr txBox="1">
            <a:spLocks/>
          </p:cNvSpPr>
          <p:nvPr/>
        </p:nvSpPr>
        <p:spPr>
          <a:xfrm>
            <a:off x="11789696" y="6659041"/>
            <a:ext cx="384433" cy="18106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6217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35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865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4871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3108960" algn="l" defTabSz="1243584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3730752" algn="l" defTabSz="1243584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4352544" algn="l" defTabSz="1243584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4974336" algn="l" defTabSz="1243584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fld id="{968F9046-8C59-48C4-AA6D-1EDEE2E70D60}" type="slidenum">
              <a:rPr lang="en-US" sz="1176" smtClean="0"/>
              <a:pPr/>
              <a:t>‹#›</a:t>
            </a:fld>
            <a:endParaRPr lang="en-US" sz="1176" dirty="0"/>
          </a:p>
        </p:txBody>
      </p:sp>
    </p:spTree>
    <p:extLst>
      <p:ext uri="{BB962C8B-B14F-4D97-AF65-F5344CB8AC3E}">
        <p14:creationId xmlns:p14="http://schemas.microsoft.com/office/powerpoint/2010/main" val="1795276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16E6803-9265-4CDB-8B72-31800975125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7" y="6369198"/>
            <a:ext cx="1207008" cy="26324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60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888" y="285180"/>
            <a:ext cx="11621212" cy="57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2" eaLnBrk="0" fontAlgn="base" hangingPunct="0">
              <a:spcAft>
                <a:spcPct val="0"/>
              </a:spcAft>
            </a:pPr>
            <a:r>
              <a:rPr lang="en-US"/>
              <a:t>Slide Title goes here</a:t>
            </a:r>
          </a:p>
        </p:txBody>
      </p:sp>
      <p:sp>
        <p:nvSpPr>
          <p:cNvPr id="13" name="Slide Number Placeholder 32">
            <a:extLst>
              <a:ext uri="{FF2B5EF4-FFF2-40B4-BE49-F238E27FC236}">
                <a16:creationId xmlns:a16="http://schemas.microsoft.com/office/drawing/2014/main" id="{04918F1D-0731-4965-A75B-883089B34B73}"/>
              </a:ext>
            </a:extLst>
          </p:cNvPr>
          <p:cNvSpPr txBox="1">
            <a:spLocks/>
          </p:cNvSpPr>
          <p:nvPr/>
        </p:nvSpPr>
        <p:spPr>
          <a:xfrm>
            <a:off x="358515" y="6536785"/>
            <a:ext cx="3201704" cy="12561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>
                <a:solidFill>
                  <a:schemeClr val="accent4"/>
                </a:solidFill>
                <a:latin typeface="+mn-lt"/>
              </a:rPr>
              <a:t>© 2018 Fractal Analytics Inc. All rights reserved |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DD12A3C-A9CF-4F0F-82D4-2D304936FA64}"/>
              </a:ext>
            </a:extLst>
          </p:cNvPr>
          <p:cNvGrpSpPr/>
          <p:nvPr/>
        </p:nvGrpSpPr>
        <p:grpSpPr>
          <a:xfrm>
            <a:off x="1" y="6750000"/>
            <a:ext cx="12192000" cy="108000"/>
            <a:chOff x="0" y="6738937"/>
            <a:chExt cx="12192000" cy="119063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6D34C862-2E0E-47AE-9F97-69544EC1297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FE43F768-C76A-4B60-BAC1-BA93BE0811F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6E988D47-B4A6-4322-9198-387CA3E0455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60744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16E6803-9265-4CDB-8B72-31800975125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7" y="6369198"/>
            <a:ext cx="1207008" cy="26324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60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888" y="285180"/>
            <a:ext cx="11621212" cy="57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2" eaLnBrk="0" fontAlgn="base" hangingPunct="0">
              <a:spcAft>
                <a:spcPct val="0"/>
              </a:spcAft>
            </a:pPr>
            <a:r>
              <a:rPr lang="en-US"/>
              <a:t>Slide Title goes here</a:t>
            </a:r>
          </a:p>
        </p:txBody>
      </p:sp>
      <p:sp>
        <p:nvSpPr>
          <p:cNvPr id="13" name="Slide Number Placeholder 32">
            <a:extLst>
              <a:ext uri="{FF2B5EF4-FFF2-40B4-BE49-F238E27FC236}">
                <a16:creationId xmlns:a16="http://schemas.microsoft.com/office/drawing/2014/main" id="{04918F1D-0731-4965-A75B-883089B34B73}"/>
              </a:ext>
            </a:extLst>
          </p:cNvPr>
          <p:cNvSpPr txBox="1">
            <a:spLocks/>
          </p:cNvSpPr>
          <p:nvPr/>
        </p:nvSpPr>
        <p:spPr>
          <a:xfrm>
            <a:off x="358515" y="6536785"/>
            <a:ext cx="3201704" cy="12561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>
                <a:solidFill>
                  <a:schemeClr val="accent4"/>
                </a:solidFill>
                <a:latin typeface="+mn-lt"/>
              </a:rPr>
              <a:t>© 2018 Fractal Analytics Inc. All rights reserved |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DD12A3C-A9CF-4F0F-82D4-2D304936FA64}"/>
              </a:ext>
            </a:extLst>
          </p:cNvPr>
          <p:cNvGrpSpPr/>
          <p:nvPr/>
        </p:nvGrpSpPr>
        <p:grpSpPr>
          <a:xfrm>
            <a:off x="1" y="6750000"/>
            <a:ext cx="12192000" cy="108000"/>
            <a:chOff x="0" y="6738937"/>
            <a:chExt cx="12192000" cy="119063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6D34C862-2E0E-47AE-9F97-69544EC1297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FE43F768-C76A-4B60-BAC1-BA93BE0811F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6E988D47-B4A6-4322-9198-387CA3E0455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59783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2344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5184935-74ED-41EF-96D6-364B7E6E7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ish Shukla &amp; Shubham Gupta	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30E2C40-DF65-4AC1-9501-2803F6B9C84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oblem Solving-2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FC66A5-84E3-48EA-93B6-2EB7CC9D37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v 2018</a:t>
            </a:r>
          </a:p>
        </p:txBody>
      </p:sp>
    </p:spTree>
    <p:extLst>
      <p:ext uri="{BB962C8B-B14F-4D97-AF65-F5344CB8AC3E}">
        <p14:creationId xmlns:p14="http://schemas.microsoft.com/office/powerpoint/2010/main" val="15627224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FC7E8-683C-4475-BCBE-38362A76D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 Tree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B882B9BE-7C9C-4F3A-9ABF-499819548108}"/>
              </a:ext>
            </a:extLst>
          </p:cNvPr>
          <p:cNvGraphicFramePr/>
          <p:nvPr>
            <p:extLst/>
          </p:nvPr>
        </p:nvGraphicFramePr>
        <p:xfrm>
          <a:off x="1019480" y="1426128"/>
          <a:ext cx="9767790" cy="41548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id="{130FABB2-0593-468B-BEDC-9C55213271D8}"/>
              </a:ext>
            </a:extLst>
          </p:cNvPr>
          <p:cNvSpPr/>
          <p:nvPr/>
        </p:nvSpPr>
        <p:spPr>
          <a:xfrm>
            <a:off x="9496338" y="1042168"/>
            <a:ext cx="511728" cy="469783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6B9512C-A1A2-4CC1-B389-4DD7D319DD89}"/>
              </a:ext>
            </a:extLst>
          </p:cNvPr>
          <p:cNvSpPr/>
          <p:nvPr/>
        </p:nvSpPr>
        <p:spPr>
          <a:xfrm>
            <a:off x="9697795" y="4110667"/>
            <a:ext cx="511728" cy="469783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2</a:t>
            </a:r>
          </a:p>
        </p:txBody>
      </p:sp>
    </p:spTree>
    <p:extLst>
      <p:ext uri="{BB962C8B-B14F-4D97-AF65-F5344CB8AC3E}">
        <p14:creationId xmlns:p14="http://schemas.microsoft.com/office/powerpoint/2010/main" val="27406581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FC7E8-683C-4475-BCBE-38362A76D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 Tree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B882B9BE-7C9C-4F3A-9ABF-499819548108}"/>
              </a:ext>
            </a:extLst>
          </p:cNvPr>
          <p:cNvGraphicFramePr/>
          <p:nvPr>
            <p:extLst/>
          </p:nvPr>
        </p:nvGraphicFramePr>
        <p:xfrm>
          <a:off x="96691" y="1073427"/>
          <a:ext cx="11964112" cy="53128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F6C9A99E-102B-4AF1-B6E3-51B8909AD19E}"/>
              </a:ext>
            </a:extLst>
          </p:cNvPr>
          <p:cNvSpPr/>
          <p:nvPr/>
        </p:nvSpPr>
        <p:spPr>
          <a:xfrm>
            <a:off x="0" y="3429000"/>
            <a:ext cx="459671" cy="481918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C1</a:t>
            </a:r>
          </a:p>
        </p:txBody>
      </p:sp>
    </p:spTree>
    <p:extLst>
      <p:ext uri="{BB962C8B-B14F-4D97-AF65-F5344CB8AC3E}">
        <p14:creationId xmlns:p14="http://schemas.microsoft.com/office/powerpoint/2010/main" val="37631384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FC7E8-683C-4475-BCBE-38362A76D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 Tree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B882B9BE-7C9C-4F3A-9ABF-499819548108}"/>
              </a:ext>
            </a:extLst>
          </p:cNvPr>
          <p:cNvGraphicFramePr/>
          <p:nvPr>
            <p:extLst/>
          </p:nvPr>
        </p:nvGraphicFramePr>
        <p:xfrm>
          <a:off x="56438" y="471715"/>
          <a:ext cx="11964112" cy="59145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B7372AF6-47AA-41F4-A50B-29135CE41BCE}"/>
              </a:ext>
            </a:extLst>
          </p:cNvPr>
          <p:cNvSpPr/>
          <p:nvPr/>
        </p:nvSpPr>
        <p:spPr>
          <a:xfrm>
            <a:off x="0" y="2305026"/>
            <a:ext cx="565689" cy="517687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C2</a:t>
            </a:r>
          </a:p>
        </p:txBody>
      </p:sp>
    </p:spTree>
    <p:extLst>
      <p:ext uri="{BB962C8B-B14F-4D97-AF65-F5344CB8AC3E}">
        <p14:creationId xmlns:p14="http://schemas.microsoft.com/office/powerpoint/2010/main" val="16275089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0F9B96F-351D-4B3D-A91A-D1DE347760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8531" y="2743710"/>
            <a:ext cx="5379719" cy="1522981"/>
          </a:xfrm>
        </p:spPr>
        <p:txBody>
          <a:bodyPr/>
          <a:lstStyle/>
          <a:p>
            <a:r>
              <a:rPr lang="en-US" dirty="0"/>
              <a:t>Collections strategy</a:t>
            </a:r>
          </a:p>
        </p:txBody>
      </p:sp>
    </p:spTree>
    <p:extLst>
      <p:ext uri="{BB962C8B-B14F-4D97-AF65-F5344CB8AC3E}">
        <p14:creationId xmlns:p14="http://schemas.microsoft.com/office/powerpoint/2010/main" val="610361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Shape 1"/>
          <p:cNvSpPr txBox="1"/>
          <p:nvPr/>
        </p:nvSpPr>
        <p:spPr>
          <a:xfrm>
            <a:off x="0" y="-7295"/>
            <a:ext cx="12192000" cy="779607"/>
          </a:xfrm>
          <a:prstGeom prst="rect">
            <a:avLst/>
          </a:prstGeom>
          <a:solidFill>
            <a:schemeClr val="accent5">
              <a:lumMod val="75000"/>
              <a:lumOff val="25000"/>
            </a:schemeClr>
          </a:solidFill>
        </p:spPr>
        <p:txBody>
          <a:bodyPr lIns="88231" tIns="44115" rIns="88231" bIns="44115" anchor="ctr"/>
          <a:lstStyle/>
          <a:p>
            <a:r>
              <a:rPr lang="en-US" sz="2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hilips: Case –13 | Collection strategy</a:t>
            </a:r>
            <a:endParaRPr sz="1765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C360AAD4-50D3-4C5C-97CF-BCD6EEB899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1917" y="1075082"/>
            <a:ext cx="11699022" cy="5140187"/>
          </a:xfrm>
          <a:prstGeom prst="rect">
            <a:avLst/>
          </a:prstGeom>
        </p:spPr>
        <p:txBody>
          <a:bodyPr/>
          <a:lstStyle/>
          <a:p>
            <a:pPr marL="0" lvl="1" indent="0" algn="just">
              <a:lnSpc>
                <a:spcPct val="150000"/>
              </a:lnSpc>
              <a:buNone/>
            </a:pPr>
            <a:r>
              <a:rPr lang="en-US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our client ABC is a leading technology company in various sectors like medical devices, Consumer Lifestyle and Lighting. ABC has recently witnessed increase in account receivable overdue. They want to build a framework to optimize collection efforts and reduce account receivable overdue</a:t>
            </a: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44258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474A4996-E3BB-4724-A202-D9F3A234EBF4}"/>
              </a:ext>
            </a:extLst>
          </p:cNvPr>
          <p:cNvSpPr/>
          <p:nvPr/>
        </p:nvSpPr>
        <p:spPr>
          <a:xfrm>
            <a:off x="291547" y="1417987"/>
            <a:ext cx="11622156" cy="4439478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Shape 1"/>
          <p:cNvSpPr txBox="1"/>
          <p:nvPr/>
        </p:nvSpPr>
        <p:spPr>
          <a:xfrm>
            <a:off x="0" y="-7295"/>
            <a:ext cx="12192000" cy="779607"/>
          </a:xfrm>
          <a:prstGeom prst="rect">
            <a:avLst/>
          </a:prstGeom>
          <a:solidFill>
            <a:schemeClr val="accent5">
              <a:lumMod val="75000"/>
              <a:lumOff val="25000"/>
            </a:schemeClr>
          </a:solidFill>
        </p:spPr>
        <p:txBody>
          <a:bodyPr lIns="88231" tIns="44115" rIns="88231" bIns="44115" anchor="ctr"/>
          <a:lstStyle/>
          <a:p>
            <a:r>
              <a:rPr lang="en-US" sz="2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dustry research</a:t>
            </a:r>
            <a:endParaRPr sz="1765" b="1" dirty="0">
              <a:solidFill>
                <a:prstClr val="black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E435BB-D393-495D-8EB8-4FEB4B2B1E72}"/>
              </a:ext>
            </a:extLst>
          </p:cNvPr>
          <p:cNvSpPr txBox="1"/>
          <p:nvPr/>
        </p:nvSpPr>
        <p:spPr>
          <a:xfrm>
            <a:off x="291546" y="5959196"/>
            <a:ext cx="58044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[1] [Included in above balances as per December 31, 2017</a:t>
            </a:r>
          </a:p>
          <a:p>
            <a:r>
              <a:rPr lang="en-US" sz="1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[2] https://canovabancorp.com/how-accounts-receivables-lose-value-over-time/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06D6A76-3AB6-4A10-88F8-E2888279C7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9154982"/>
              </p:ext>
            </p:extLst>
          </p:nvPr>
        </p:nvGraphicFramePr>
        <p:xfrm>
          <a:off x="8647045" y="1687004"/>
          <a:ext cx="3253408" cy="3102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F15F9BB3-F503-4506-8CF4-D4A33DFB51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4125109"/>
              </p:ext>
            </p:extLst>
          </p:nvPr>
        </p:nvGraphicFramePr>
        <p:xfrm>
          <a:off x="4353338" y="1687004"/>
          <a:ext cx="3902762" cy="3932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804717F-63BF-4F9C-92CC-AD02C093FBBD}"/>
              </a:ext>
            </a:extLst>
          </p:cNvPr>
          <p:cNvCxnSpPr/>
          <p:nvPr/>
        </p:nvCxnSpPr>
        <p:spPr>
          <a:xfrm>
            <a:off x="8507894" y="1561111"/>
            <a:ext cx="0" cy="393192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78BBF611-6840-432C-AEDC-2FAFA5197E04}"/>
              </a:ext>
            </a:extLst>
          </p:cNvPr>
          <p:cNvSpPr txBox="1"/>
          <p:nvPr/>
        </p:nvSpPr>
        <p:spPr>
          <a:xfrm>
            <a:off x="291547" y="1099929"/>
            <a:ext cx="11622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29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 smarter account receivable collection strategy can improve collection rate by more than 15%</a:t>
            </a:r>
            <a:endParaRPr lang="en-US" b="1" dirty="0">
              <a:solidFill>
                <a:srgbClr val="F290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BD444CB-A253-4D4B-9F88-09B0953233F1}"/>
              </a:ext>
            </a:extLst>
          </p:cNvPr>
          <p:cNvSpPr txBox="1"/>
          <p:nvPr/>
        </p:nvSpPr>
        <p:spPr>
          <a:xfrm>
            <a:off x="8600662" y="4716339"/>
            <a:ext cx="3465443" cy="1021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0">
              <a:lnSpc>
                <a:spcPct val="150000"/>
              </a:lnSpc>
              <a:buNone/>
            </a:pPr>
            <a:r>
              <a:rPr lang="en-US" sz="1400" dirty="0">
                <a:solidFill>
                  <a:srgbClr val="00206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ighting, Diagnostics and personal health equipment account 85% of net account receivab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D0FB10-ED4B-49A0-8A27-A9E565B7A2A3}"/>
              </a:ext>
            </a:extLst>
          </p:cNvPr>
          <p:cNvCxnSpPr/>
          <p:nvPr/>
        </p:nvCxnSpPr>
        <p:spPr>
          <a:xfrm>
            <a:off x="4260570" y="1687004"/>
            <a:ext cx="0" cy="393192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5E67D44-658D-4838-BE67-ABEA641489A0}"/>
              </a:ext>
            </a:extLst>
          </p:cNvPr>
          <p:cNvSpPr txBox="1"/>
          <p:nvPr/>
        </p:nvSpPr>
        <p:spPr>
          <a:xfrm>
            <a:off x="636105" y="1805047"/>
            <a:ext cx="3399177" cy="161582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solidFill>
              <a:srgbClr val="F29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71450" lvl="1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receivable is the amount owed to a business by its customers, and comprises potentially large number of invoiced accounts </a:t>
            </a:r>
          </a:p>
          <a:p>
            <a:pPr marL="171450" lvl="1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t constitutes the primary source of incoming cash flow which can be diverted into crucial business func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03D900-2D5B-46CA-8373-6D1FFA89D376}"/>
              </a:ext>
            </a:extLst>
          </p:cNvPr>
          <p:cNvSpPr txBox="1"/>
          <p:nvPr/>
        </p:nvSpPr>
        <p:spPr>
          <a:xfrm>
            <a:off x="636105" y="3637726"/>
            <a:ext cx="3399177" cy="186974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solidFill>
              <a:srgbClr val="F29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71450" lvl="1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y the time the receivables are 90 days overdue, they could be worth only 20% of their original value [2]</a:t>
            </a:r>
          </a:p>
          <a:p>
            <a:pPr marL="171450" lvl="1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 an average, companies write off 1.5% of their receivables as bad debt[1]</a:t>
            </a:r>
          </a:p>
          <a:p>
            <a:pPr marL="171450" lvl="1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93% of businesses experience late payments from customers[2]</a:t>
            </a:r>
          </a:p>
        </p:txBody>
      </p:sp>
    </p:spTree>
    <p:extLst>
      <p:ext uri="{BB962C8B-B14F-4D97-AF65-F5344CB8AC3E}">
        <p14:creationId xmlns:p14="http://schemas.microsoft.com/office/powerpoint/2010/main" val="30548625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>
            <a:extLst>
              <a:ext uri="{FF2B5EF4-FFF2-40B4-BE49-F238E27FC236}">
                <a16:creationId xmlns:a16="http://schemas.microsoft.com/office/drawing/2014/main" id="{7AC4205E-8ED6-46F4-B953-131C5FB7FBED}"/>
              </a:ext>
            </a:extLst>
          </p:cNvPr>
          <p:cNvSpPr txBox="1"/>
          <p:nvPr/>
        </p:nvSpPr>
        <p:spPr>
          <a:xfrm>
            <a:off x="900811" y="2730342"/>
            <a:ext cx="2355885" cy="239727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93297" tIns="186595" rIns="46649" rtlCol="0" anchor="t">
            <a:noAutofit/>
          </a:bodyPr>
          <a:lstStyle>
            <a:defPPr>
              <a:defRPr lang="en-US"/>
            </a:defPPr>
            <a:lvl1pPr marL="285750" indent="-285750">
              <a:spcAft>
                <a:spcPts val="556"/>
              </a:spcAft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Aft>
                <a:spcPts val="612"/>
              </a:spcAft>
              <a:buFont typeface="Arial" panose="020B0604020202020204" pitchFamily="34" charset="0"/>
              <a:buChar char="•"/>
              <a:defRPr/>
            </a:pPr>
            <a:r>
              <a:rPr lang="en-US" sz="1428" kern="0" dirty="0"/>
              <a:t>Develop a credit application process.</a:t>
            </a:r>
          </a:p>
          <a:p>
            <a:pPr>
              <a:spcAft>
                <a:spcPts val="612"/>
              </a:spcAft>
              <a:buFont typeface="Arial" panose="020B0604020202020204" pitchFamily="34" charset="0"/>
              <a:buChar char="•"/>
              <a:defRPr/>
            </a:pPr>
            <a:r>
              <a:rPr lang="en-US" sz="1428" kern="0" dirty="0"/>
              <a:t>Establish the terms and conditions of sale</a:t>
            </a:r>
          </a:p>
          <a:p>
            <a:pPr>
              <a:spcAft>
                <a:spcPts val="612"/>
              </a:spcAft>
              <a:buFont typeface="Arial" panose="020B0604020202020204" pitchFamily="34" charset="0"/>
              <a:buChar char="•"/>
              <a:defRPr/>
            </a:pPr>
            <a:r>
              <a:rPr lang="en-US" sz="1428" kern="0" dirty="0"/>
              <a:t>Comply with consumer credit laws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04C1E55-0110-49B6-BBED-D0D6D3A86EC0}"/>
              </a:ext>
            </a:extLst>
          </p:cNvPr>
          <p:cNvSpPr txBox="1"/>
          <p:nvPr/>
        </p:nvSpPr>
        <p:spPr>
          <a:xfrm>
            <a:off x="3420636" y="2480478"/>
            <a:ext cx="2169679" cy="239727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93297" tIns="186595" rIns="46649" rtlCol="0" anchor="t">
            <a:noAutofit/>
          </a:bodyPr>
          <a:lstStyle>
            <a:defPPr>
              <a:defRPr lang="en-US"/>
            </a:defPPr>
            <a:lvl1pPr marL="285750" indent="-285750">
              <a:spcAft>
                <a:spcPts val="556"/>
              </a:spcAft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Aft>
                <a:spcPts val="612"/>
              </a:spcAft>
              <a:buFont typeface="Arial" panose="020B0604020202020204" pitchFamily="34" charset="0"/>
              <a:buChar char="•"/>
              <a:defRPr/>
            </a:pPr>
            <a:r>
              <a:rPr lang="en-US" sz="1428" kern="0" dirty="0"/>
              <a:t>Preparation of Invoice.</a:t>
            </a:r>
          </a:p>
          <a:p>
            <a:pPr>
              <a:spcAft>
                <a:spcPts val="612"/>
              </a:spcAft>
              <a:buFont typeface="Arial" panose="020B0604020202020204" pitchFamily="34" charset="0"/>
              <a:buChar char="•"/>
              <a:defRPr/>
            </a:pPr>
            <a:r>
              <a:rPr lang="en-US" sz="1428" kern="0" dirty="0"/>
              <a:t>Choose channel through which you send invoice to customers.</a:t>
            </a:r>
          </a:p>
          <a:p>
            <a:pPr>
              <a:spcAft>
                <a:spcPts val="612"/>
              </a:spcAft>
              <a:buFont typeface="Arial" panose="020B0604020202020204" pitchFamily="34" charset="0"/>
              <a:buChar char="•"/>
              <a:defRPr/>
            </a:pPr>
            <a:r>
              <a:rPr lang="en-US" sz="1428" kern="0" dirty="0"/>
              <a:t>Include all relevant information on the invoice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10BCC6B-A7A2-49FB-B572-3DD68EF32140}"/>
              </a:ext>
            </a:extLst>
          </p:cNvPr>
          <p:cNvSpPr txBox="1"/>
          <p:nvPr/>
        </p:nvSpPr>
        <p:spPr>
          <a:xfrm>
            <a:off x="5671228" y="2190659"/>
            <a:ext cx="2195410" cy="239727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93297" tIns="186595" rIns="46649" rtlCol="0" anchor="t">
            <a:noAutofit/>
          </a:bodyPr>
          <a:lstStyle>
            <a:defPPr>
              <a:defRPr lang="en-US"/>
            </a:defPPr>
            <a:lvl1pPr marL="285750" indent="-285750">
              <a:spcAft>
                <a:spcPts val="556"/>
              </a:spcAft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Aft>
                <a:spcPts val="612"/>
              </a:spcAft>
              <a:buFont typeface="Arial" panose="020B0604020202020204" pitchFamily="34" charset="0"/>
              <a:buChar char="•"/>
              <a:defRPr/>
            </a:pPr>
            <a:r>
              <a:rPr lang="en-US" sz="1428" kern="0" dirty="0"/>
              <a:t>Manual/Automatic accounts receivable tracking system.</a:t>
            </a:r>
          </a:p>
          <a:p>
            <a:pPr>
              <a:spcAft>
                <a:spcPts val="612"/>
              </a:spcAft>
              <a:buFont typeface="Arial" panose="020B0604020202020204" pitchFamily="34" charset="0"/>
              <a:buChar char="•"/>
              <a:defRPr/>
            </a:pPr>
            <a:r>
              <a:rPr lang="en-US" sz="1428" kern="0" dirty="0"/>
              <a:t>Issue monthly statements to customers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B887DFC-AFD9-4760-A899-D7D99E1FE079}"/>
              </a:ext>
            </a:extLst>
          </p:cNvPr>
          <p:cNvSpPr txBox="1"/>
          <p:nvPr/>
        </p:nvSpPr>
        <p:spPr>
          <a:xfrm>
            <a:off x="7920026" y="1929823"/>
            <a:ext cx="2194766" cy="239727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93297" tIns="186595" rIns="46649" rtlCol="0" anchor="t">
            <a:noAutofit/>
          </a:bodyPr>
          <a:lstStyle>
            <a:defPPr>
              <a:defRPr lang="en-US"/>
            </a:defPPr>
            <a:lvl1pPr marL="285750" indent="-285750">
              <a:spcAft>
                <a:spcPts val="556"/>
              </a:spcAft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>
              <a:spcAft>
                <a:spcPts val="612"/>
              </a:spcAft>
              <a:buFont typeface="Arial" panose="020B0604020202020204" pitchFamily="34" charset="0"/>
              <a:buChar char="•"/>
              <a:defRPr/>
            </a:pPr>
            <a:r>
              <a:rPr lang="en-US" sz="1428" kern="0" dirty="0"/>
              <a:t>Record a sale of goods on credit. </a:t>
            </a:r>
          </a:p>
          <a:p>
            <a:pPr>
              <a:spcAft>
                <a:spcPts val="612"/>
              </a:spcAft>
              <a:buFont typeface="Arial" panose="020B0604020202020204" pitchFamily="34" charset="0"/>
              <a:buChar char="•"/>
              <a:defRPr/>
            </a:pPr>
            <a:r>
              <a:rPr lang="en-US" sz="1428" kern="0" dirty="0"/>
              <a:t>Account for early payment discounts.</a:t>
            </a:r>
          </a:p>
          <a:p>
            <a:pPr>
              <a:spcAft>
                <a:spcPts val="612"/>
              </a:spcAft>
              <a:buFont typeface="Arial" panose="020B0604020202020204" pitchFamily="34" charset="0"/>
              <a:buChar char="•"/>
              <a:defRPr/>
            </a:pPr>
            <a:r>
              <a:rPr lang="en-US" sz="1428" kern="0" dirty="0"/>
              <a:t>Account for bad debt.</a:t>
            </a:r>
          </a:p>
          <a:p>
            <a:pPr>
              <a:spcAft>
                <a:spcPts val="612"/>
              </a:spcAft>
              <a:buFont typeface="Arial" panose="020B0604020202020204" pitchFamily="34" charset="0"/>
              <a:buChar char="•"/>
              <a:defRPr/>
            </a:pPr>
            <a:r>
              <a:rPr lang="en-US" sz="1428" kern="0" dirty="0"/>
              <a:t>Prepare an accounts receivable aging repor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44CD8B2-5999-4254-8955-EA37ACDA20E3}"/>
              </a:ext>
            </a:extLst>
          </p:cNvPr>
          <p:cNvSpPr/>
          <p:nvPr/>
        </p:nvSpPr>
        <p:spPr>
          <a:xfrm>
            <a:off x="7704510" y="1316988"/>
            <a:ext cx="2450003" cy="63584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3297" tIns="93297" rIns="93297" bIns="932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7325"/>
            <a:r>
              <a:rPr lang="en-US" sz="1632" b="1" kern="0" dirty="0">
                <a:solidFill>
                  <a:schemeClr val="bg1"/>
                </a:solidFill>
                <a:latin typeface="+mj-lt"/>
                <a:cs typeface="Arial" pitchFamily="34" charset="0"/>
              </a:rPr>
              <a:t>Step4: Accounting for Accounts Receivabl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9A74475-365E-4F8A-8497-0690E51885C0}"/>
              </a:ext>
            </a:extLst>
          </p:cNvPr>
          <p:cNvSpPr/>
          <p:nvPr/>
        </p:nvSpPr>
        <p:spPr>
          <a:xfrm>
            <a:off x="5431006" y="1574705"/>
            <a:ext cx="2450003" cy="63584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3297" tIns="93297" rIns="93297" bIns="932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7325"/>
            <a:r>
              <a:rPr lang="en-US" sz="1632" b="1" kern="0" dirty="0">
                <a:solidFill>
                  <a:schemeClr val="bg1"/>
                </a:solidFill>
                <a:latin typeface="+mj-lt"/>
                <a:cs typeface="Arial" pitchFamily="34" charset="0"/>
              </a:rPr>
              <a:t>Step3: Tracking Accounts Receivabl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E9964FC-8209-43E7-9C26-9E8D0E6C01BA}"/>
              </a:ext>
            </a:extLst>
          </p:cNvPr>
          <p:cNvSpPr/>
          <p:nvPr/>
        </p:nvSpPr>
        <p:spPr>
          <a:xfrm>
            <a:off x="3165908" y="1832421"/>
            <a:ext cx="2450003" cy="63584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3297" tIns="93297" rIns="93297" bIns="932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07325"/>
            <a:r>
              <a:rPr lang="en-US" sz="1632" b="1" kern="0" dirty="0">
                <a:solidFill>
                  <a:schemeClr val="bg1"/>
                </a:solidFill>
                <a:latin typeface="+mj-lt"/>
                <a:cs typeface="Arial" pitchFamily="34" charset="0"/>
              </a:rPr>
              <a:t>Step2: Invoicing Customers</a:t>
            </a:r>
          </a:p>
        </p:txBody>
      </p:sp>
      <p:sp>
        <p:nvSpPr>
          <p:cNvPr id="41" name="AutoShape 29">
            <a:extLst>
              <a:ext uri="{FF2B5EF4-FFF2-40B4-BE49-F238E27FC236}">
                <a16:creationId xmlns:a16="http://schemas.microsoft.com/office/drawing/2014/main" id="{075A6D94-A98F-4B56-9F6B-B9AC1BEA1FA3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5439411" y="1578593"/>
            <a:ext cx="176501" cy="251378"/>
          </a:xfrm>
          <a:prstGeom prst="triangle">
            <a:avLst>
              <a:gd name="adj" fmla="val 100000"/>
            </a:avLst>
          </a:prstGeom>
          <a:solidFill>
            <a:schemeClr val="tx1">
              <a:lumMod val="60000"/>
              <a:lumOff val="40000"/>
            </a:schemeClr>
          </a:solidFill>
          <a:ln w="952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55978" tIns="27989" rIns="27989" bIns="27989" anchor="ctr"/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altLang="en-US" sz="1632" ker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2" name="AutoShape 30">
            <a:extLst>
              <a:ext uri="{FF2B5EF4-FFF2-40B4-BE49-F238E27FC236}">
                <a16:creationId xmlns:a16="http://schemas.microsoft.com/office/drawing/2014/main" id="{C2A1761C-ED60-4062-BACC-79B6076A342A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7704509" y="1324763"/>
            <a:ext cx="176501" cy="251378"/>
          </a:xfrm>
          <a:prstGeom prst="triangle">
            <a:avLst>
              <a:gd name="adj" fmla="val 100000"/>
            </a:avLst>
          </a:prstGeom>
          <a:solidFill>
            <a:schemeClr val="tx1">
              <a:lumMod val="60000"/>
              <a:lumOff val="40000"/>
            </a:schemeClr>
          </a:solidFill>
          <a:ln w="952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55978" tIns="27989" rIns="27989" bIns="27989" anchor="ctr"/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altLang="en-US" sz="1632" ker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4" name="AutoShape 29">
            <a:extLst>
              <a:ext uri="{FF2B5EF4-FFF2-40B4-BE49-F238E27FC236}">
                <a16:creationId xmlns:a16="http://schemas.microsoft.com/office/drawing/2014/main" id="{497C05AA-4B0E-48CB-BC9B-00A252E43096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3174314" y="1834364"/>
            <a:ext cx="176501" cy="251378"/>
          </a:xfrm>
          <a:prstGeom prst="triangle">
            <a:avLst>
              <a:gd name="adj" fmla="val 100000"/>
            </a:avLst>
          </a:prstGeom>
          <a:solidFill>
            <a:schemeClr val="tx1">
              <a:lumMod val="60000"/>
              <a:lumOff val="40000"/>
            </a:schemeClr>
          </a:solidFill>
          <a:ln w="952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55978" tIns="27989" rIns="27989" bIns="27989" anchor="ctr"/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altLang="en-US" sz="1632" ker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5BBC0E9-90A2-4097-874D-220F7A4A1B55}"/>
              </a:ext>
            </a:extLst>
          </p:cNvPr>
          <p:cNvSpPr/>
          <p:nvPr/>
        </p:nvSpPr>
        <p:spPr>
          <a:xfrm>
            <a:off x="900811" y="2085557"/>
            <a:ext cx="2450003" cy="635840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3297" tIns="93297" rIns="93297" bIns="932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962">
              <a:defRPr/>
            </a:pPr>
            <a:r>
              <a:rPr lang="en-US" sz="1632" b="1" kern="0" dirty="0">
                <a:solidFill>
                  <a:schemeClr val="bg1"/>
                </a:solidFill>
                <a:latin typeface="+mj-lt"/>
                <a:cs typeface="Arial" pitchFamily="34" charset="0"/>
              </a:rPr>
              <a:t>Step1: Establishing Credit Practi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3D165A-6200-44E2-BD62-7D97DC3EBFB5}"/>
              </a:ext>
            </a:extLst>
          </p:cNvPr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en-US" dirty="0"/>
              <a:t>Process of Accounts Receivable</a:t>
            </a:r>
          </a:p>
        </p:txBody>
      </p:sp>
    </p:spTree>
    <p:extLst>
      <p:ext uri="{BB962C8B-B14F-4D97-AF65-F5344CB8AC3E}">
        <p14:creationId xmlns:p14="http://schemas.microsoft.com/office/powerpoint/2010/main" val="4151703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/>
        </p:nvSpPr>
        <p:spPr>
          <a:xfrm>
            <a:off x="6640111" y="5269645"/>
            <a:ext cx="812285" cy="812285"/>
          </a:xfrm>
          <a:prstGeom prst="ellipse">
            <a:avLst/>
          </a:prstGeom>
          <a:solidFill>
            <a:schemeClr val="accent3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95" latinLnBrk="1"/>
            <a:endParaRPr lang="ko-KR" altLang="en-US" sz="2400">
              <a:solidFill>
                <a:prstClr val="white"/>
              </a:solidFill>
              <a:latin typeface="+mj-lt"/>
              <a:ea typeface="Arial Unicode MS"/>
            </a:endParaRPr>
          </a:p>
        </p:txBody>
      </p:sp>
      <p:sp>
        <p:nvSpPr>
          <p:cNvPr id="2" name="Title 2"/>
          <p:cNvSpPr>
            <a:spLocks noGrp="1"/>
          </p:cNvSpPr>
          <p:nvPr>
            <p:ph type="title"/>
          </p:nvPr>
        </p:nvSpPr>
        <p:spPr>
          <a:xfrm>
            <a:off x="227888" y="285180"/>
            <a:ext cx="11621212" cy="1009503"/>
          </a:xfrm>
          <a:prstGeom prst="rect">
            <a:avLst/>
          </a:prstGeom>
        </p:spPr>
        <p:txBody>
          <a:bodyPr/>
          <a:lstStyle/>
          <a:p>
            <a:r>
              <a:rPr lang="en-US" altLang="ko-KR" dirty="0">
                <a:latin typeface="+mj-lt"/>
              </a:rPr>
              <a:t>PSW Question - How can we optimize collection efforts and reduce account receivable overdue</a:t>
            </a:r>
          </a:p>
        </p:txBody>
      </p:sp>
      <p:sp>
        <p:nvSpPr>
          <p:cNvPr id="8" name="Oval 7"/>
          <p:cNvSpPr/>
          <p:nvPr/>
        </p:nvSpPr>
        <p:spPr>
          <a:xfrm>
            <a:off x="1059309" y="1393309"/>
            <a:ext cx="812285" cy="812285"/>
          </a:xfrm>
          <a:prstGeom prst="ellipse">
            <a:avLst/>
          </a:prstGeom>
          <a:solidFill>
            <a:schemeClr val="accent1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95" latinLnBrk="1"/>
            <a:endParaRPr lang="ko-KR" altLang="en-US" sz="2400">
              <a:solidFill>
                <a:prstClr val="white"/>
              </a:solidFill>
              <a:latin typeface="+mj-lt"/>
              <a:ea typeface="Arial Unicode MS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52231" y="3719639"/>
            <a:ext cx="812285" cy="812285"/>
          </a:xfrm>
          <a:prstGeom prst="ellipse">
            <a:avLst/>
          </a:prstGeom>
          <a:solidFill>
            <a:schemeClr val="accent2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95" latinLnBrk="1"/>
            <a:endParaRPr lang="ko-KR" altLang="en-US" sz="2400" dirty="0">
              <a:solidFill>
                <a:prstClr val="white"/>
              </a:solidFill>
              <a:latin typeface="+mj-lt"/>
              <a:ea typeface="Arial Unicode MS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41486" y="5221124"/>
            <a:ext cx="812285" cy="812285"/>
          </a:xfrm>
          <a:prstGeom prst="ellipse">
            <a:avLst/>
          </a:prstGeom>
          <a:solidFill>
            <a:schemeClr val="accent3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95" latinLnBrk="1"/>
            <a:endParaRPr lang="ko-KR" altLang="en-US" sz="2400">
              <a:solidFill>
                <a:prstClr val="white"/>
              </a:solidFill>
              <a:latin typeface="+mj-lt"/>
              <a:ea typeface="Arial Unicode MS"/>
            </a:endParaRPr>
          </a:p>
        </p:txBody>
      </p:sp>
      <p:sp>
        <p:nvSpPr>
          <p:cNvPr id="13" name="Rectangle 23"/>
          <p:cNvSpPr/>
          <p:nvPr/>
        </p:nvSpPr>
        <p:spPr>
          <a:xfrm>
            <a:off x="6810155" y="5505302"/>
            <a:ext cx="455139" cy="267724"/>
          </a:xfrm>
          <a:custGeom>
            <a:avLst/>
            <a:gdLst/>
            <a:ahLst/>
            <a:cxnLst/>
            <a:rect l="l" t="t" r="r" b="b"/>
            <a:pathLst>
              <a:path w="4529836" h="2664566">
                <a:moveTo>
                  <a:pt x="1861969" y="0"/>
                </a:moveTo>
                <a:cubicBezTo>
                  <a:pt x="2177122" y="0"/>
                  <a:pt x="2455874" y="155855"/>
                  <a:pt x="2611443" y="404565"/>
                </a:cubicBezTo>
                <a:cubicBezTo>
                  <a:pt x="2709453" y="315054"/>
                  <a:pt x="2840684" y="266178"/>
                  <a:pt x="2983336" y="266178"/>
                </a:cubicBezTo>
                <a:cubicBezTo>
                  <a:pt x="3293144" y="266178"/>
                  <a:pt x="3549108" y="496718"/>
                  <a:pt x="3578241" y="797044"/>
                </a:cubicBezTo>
                <a:cubicBezTo>
                  <a:pt x="3583592" y="793823"/>
                  <a:pt x="3589010" y="793774"/>
                  <a:pt x="3594440" y="793774"/>
                </a:cubicBezTo>
                <a:cubicBezTo>
                  <a:pt x="4111042" y="793774"/>
                  <a:pt x="4529836" y="1212568"/>
                  <a:pt x="4529836" y="1729170"/>
                </a:cubicBezTo>
                <a:cubicBezTo>
                  <a:pt x="4529836" y="2216938"/>
                  <a:pt x="4156487" y="2617512"/>
                  <a:pt x="3679930" y="2660249"/>
                </a:cubicBezTo>
                <a:lnTo>
                  <a:pt x="3679930" y="2664566"/>
                </a:lnTo>
                <a:lnTo>
                  <a:pt x="3594440" y="2664566"/>
                </a:lnTo>
                <a:lnTo>
                  <a:pt x="1043912" y="2664566"/>
                </a:lnTo>
                <a:lnTo>
                  <a:pt x="1043912" y="2657589"/>
                </a:lnTo>
                <a:cubicBezTo>
                  <a:pt x="1008374" y="2662448"/>
                  <a:pt x="972132" y="2664566"/>
                  <a:pt x="935396" y="2664566"/>
                </a:cubicBezTo>
                <a:cubicBezTo>
                  <a:pt x="418794" y="2664566"/>
                  <a:pt x="0" y="2245772"/>
                  <a:pt x="0" y="1729170"/>
                </a:cubicBezTo>
                <a:cubicBezTo>
                  <a:pt x="0" y="1212568"/>
                  <a:pt x="418794" y="793774"/>
                  <a:pt x="935396" y="793774"/>
                </a:cubicBezTo>
                <a:lnTo>
                  <a:pt x="954395" y="797612"/>
                </a:lnTo>
                <a:cubicBezTo>
                  <a:pt x="1004779" y="344999"/>
                  <a:pt x="1393085" y="0"/>
                  <a:pt x="186196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95" latinLnBrk="1"/>
            <a:endParaRPr lang="ko-KR" altLang="en-US" sz="2400" dirty="0">
              <a:solidFill>
                <a:prstClr val="white"/>
              </a:solidFill>
              <a:latin typeface="+mj-lt"/>
              <a:ea typeface="Arial Unicode MS"/>
            </a:endParaRPr>
          </a:p>
        </p:txBody>
      </p:sp>
      <p:sp>
        <p:nvSpPr>
          <p:cNvPr id="14" name="Rectangle 16"/>
          <p:cNvSpPr/>
          <p:nvPr/>
        </p:nvSpPr>
        <p:spPr>
          <a:xfrm rot="2700000">
            <a:off x="1292796" y="5325486"/>
            <a:ext cx="309663" cy="555167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95" latinLnBrk="1"/>
            <a:endParaRPr lang="ko-KR" altLang="en-US" sz="2400">
              <a:solidFill>
                <a:prstClr val="white"/>
              </a:solidFill>
              <a:latin typeface="+mj-lt"/>
              <a:ea typeface="Arial Unicode MS"/>
            </a:endParaRPr>
          </a:p>
        </p:txBody>
      </p:sp>
      <p:sp>
        <p:nvSpPr>
          <p:cNvPr id="15" name="Rectangle 9"/>
          <p:cNvSpPr/>
          <p:nvPr/>
        </p:nvSpPr>
        <p:spPr>
          <a:xfrm>
            <a:off x="1284490" y="1572978"/>
            <a:ext cx="389736" cy="364827"/>
          </a:xfrm>
          <a:custGeom>
            <a:avLst/>
            <a:gdLst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2991331 w 3239999"/>
              <a:gd name="connsiteY3" fmla="*/ 2709748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239999" h="3032924">
                <a:moveTo>
                  <a:pt x="1576606" y="2778202"/>
                </a:moveTo>
                <a:cubicBezTo>
                  <a:pt x="1576606" y="2778795"/>
                  <a:pt x="1663394" y="2792670"/>
                  <a:pt x="1663394" y="2778202"/>
                </a:cubicBezTo>
                <a:lnTo>
                  <a:pt x="1663394" y="2776423"/>
                </a:lnTo>
                <a:cubicBezTo>
                  <a:pt x="2185083" y="2605634"/>
                  <a:pt x="2444552" y="2500589"/>
                  <a:pt x="2991331" y="2709748"/>
                </a:cubicBezTo>
                <a:lnTo>
                  <a:pt x="3000856" y="526981"/>
                </a:lnTo>
                <a:lnTo>
                  <a:pt x="2855082" y="526981"/>
                </a:lnTo>
                <a:cubicBezTo>
                  <a:pt x="2857178" y="1175360"/>
                  <a:pt x="2859273" y="1823738"/>
                  <a:pt x="2861369" y="2472117"/>
                </a:cubicBezTo>
                <a:cubicBezTo>
                  <a:pt x="2483869" y="2318121"/>
                  <a:pt x="2052449" y="2439541"/>
                  <a:pt x="1663394" y="2765302"/>
                </a:cubicBezTo>
                <a:lnTo>
                  <a:pt x="1663394" y="526981"/>
                </a:lnTo>
                <a:lnTo>
                  <a:pt x="1663394" y="430441"/>
                </a:lnTo>
                <a:lnTo>
                  <a:pt x="1663394" y="402054"/>
                </a:lnTo>
                <a:cubicBezTo>
                  <a:pt x="1896442" y="149589"/>
                  <a:pt x="2115835" y="2106"/>
                  <a:pt x="2406065" y="22"/>
                </a:cubicBezTo>
                <a:cubicBezTo>
                  <a:pt x="2537987" y="-925"/>
                  <a:pt x="2684544" y="28169"/>
                  <a:pt x="2853673" y="91100"/>
                </a:cubicBezTo>
                <a:cubicBezTo>
                  <a:pt x="2854039" y="204214"/>
                  <a:pt x="2854404" y="317327"/>
                  <a:pt x="2854770" y="430441"/>
                </a:cubicBezTo>
                <a:lnTo>
                  <a:pt x="3120669" y="428517"/>
                </a:lnTo>
                <a:lnTo>
                  <a:pt x="3120669" y="738345"/>
                </a:lnTo>
                <a:lnTo>
                  <a:pt x="3239999" y="738345"/>
                </a:lnTo>
                <a:lnTo>
                  <a:pt x="3239999" y="3032924"/>
                </a:lnTo>
                <a:lnTo>
                  <a:pt x="0" y="3032924"/>
                </a:lnTo>
                <a:lnTo>
                  <a:pt x="0" y="738345"/>
                </a:lnTo>
                <a:lnTo>
                  <a:pt x="102477" y="738345"/>
                </a:lnTo>
                <a:lnTo>
                  <a:pt x="102477" y="428517"/>
                </a:lnTo>
                <a:lnTo>
                  <a:pt x="385229" y="430441"/>
                </a:lnTo>
                <a:cubicBezTo>
                  <a:pt x="385595" y="317327"/>
                  <a:pt x="385960" y="204214"/>
                  <a:pt x="386326" y="91100"/>
                </a:cubicBezTo>
                <a:cubicBezTo>
                  <a:pt x="555455" y="28169"/>
                  <a:pt x="702013" y="-925"/>
                  <a:pt x="833935" y="22"/>
                </a:cubicBezTo>
                <a:cubicBezTo>
                  <a:pt x="1124164" y="2106"/>
                  <a:pt x="1343558" y="149589"/>
                  <a:pt x="1576606" y="402054"/>
                </a:cubicBezTo>
                <a:lnTo>
                  <a:pt x="1576606" y="430441"/>
                </a:lnTo>
                <a:lnTo>
                  <a:pt x="1576606" y="526981"/>
                </a:lnTo>
                <a:lnTo>
                  <a:pt x="1576606" y="2765302"/>
                </a:lnTo>
                <a:cubicBezTo>
                  <a:pt x="1187550" y="2439541"/>
                  <a:pt x="756130" y="2318121"/>
                  <a:pt x="378630" y="2472117"/>
                </a:cubicBezTo>
                <a:lnTo>
                  <a:pt x="384918" y="526981"/>
                </a:lnTo>
                <a:lnTo>
                  <a:pt x="239143" y="526981"/>
                </a:lnTo>
                <a:lnTo>
                  <a:pt x="229618" y="2690698"/>
                </a:lnTo>
                <a:cubicBezTo>
                  <a:pt x="773243" y="2466244"/>
                  <a:pt x="1081748" y="2626096"/>
                  <a:pt x="1576606" y="277642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95" latinLnBrk="1"/>
            <a:endParaRPr lang="ko-KR" altLang="en-US" sz="2400">
              <a:solidFill>
                <a:prstClr val="white"/>
              </a:solidFill>
              <a:latin typeface="+mj-lt"/>
              <a:ea typeface="Arial Unicode M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6592589" y="1393309"/>
            <a:ext cx="812285" cy="812285"/>
          </a:xfrm>
          <a:prstGeom prst="ellipse">
            <a:avLst/>
          </a:prstGeom>
          <a:solidFill>
            <a:schemeClr val="accent1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95" latinLnBrk="1"/>
            <a:endParaRPr lang="ko-KR" altLang="en-US" sz="2400">
              <a:solidFill>
                <a:prstClr val="white"/>
              </a:solidFill>
              <a:latin typeface="+mj-lt"/>
              <a:ea typeface="Arial Unicode MS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6592589" y="3736288"/>
            <a:ext cx="812285" cy="812285"/>
          </a:xfrm>
          <a:prstGeom prst="ellipse">
            <a:avLst/>
          </a:prstGeom>
          <a:solidFill>
            <a:schemeClr val="accent2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95" latinLnBrk="1"/>
            <a:endParaRPr lang="ko-KR" altLang="en-US" sz="2400">
              <a:solidFill>
                <a:prstClr val="white"/>
              </a:solidFill>
              <a:latin typeface="+mj-lt"/>
              <a:ea typeface="Arial Unicode MS"/>
            </a:endParaRPr>
          </a:p>
        </p:txBody>
      </p:sp>
      <p:sp>
        <p:nvSpPr>
          <p:cNvPr id="36" name="Donut 24"/>
          <p:cNvSpPr/>
          <p:nvPr/>
        </p:nvSpPr>
        <p:spPr>
          <a:xfrm>
            <a:off x="6769835" y="1534150"/>
            <a:ext cx="457791" cy="461519"/>
          </a:xfrm>
          <a:custGeom>
            <a:avLst/>
            <a:gdLst/>
            <a:ahLst/>
            <a:cxnLst/>
            <a:rect l="l" t="t" r="r" b="b"/>
            <a:pathLst>
              <a:path w="3208412" h="3234532">
                <a:moveTo>
                  <a:pt x="1561445" y="1065858"/>
                </a:moveTo>
                <a:cubicBezTo>
                  <a:pt x="1654998" y="1065858"/>
                  <a:pt x="1743610" y="1087015"/>
                  <a:pt x="1821879" y="1126644"/>
                </a:cubicBezTo>
                <a:lnTo>
                  <a:pt x="1611352" y="1337172"/>
                </a:lnTo>
                <a:cubicBezTo>
                  <a:pt x="1595200" y="1333388"/>
                  <a:pt x="1578468" y="1332141"/>
                  <a:pt x="1561445" y="1332141"/>
                </a:cubicBezTo>
                <a:cubicBezTo>
                  <a:pt x="1373145" y="1332141"/>
                  <a:pt x="1220499" y="1484787"/>
                  <a:pt x="1220499" y="1673087"/>
                </a:cubicBezTo>
                <a:cubicBezTo>
                  <a:pt x="1220499" y="1861387"/>
                  <a:pt x="1373145" y="2014033"/>
                  <a:pt x="1561445" y="2014033"/>
                </a:cubicBezTo>
                <a:cubicBezTo>
                  <a:pt x="1749745" y="2014033"/>
                  <a:pt x="1902391" y="1861387"/>
                  <a:pt x="1902391" y="1673087"/>
                </a:cubicBezTo>
                <a:cubicBezTo>
                  <a:pt x="1902391" y="1643675"/>
                  <a:pt x="1898667" y="1615133"/>
                  <a:pt x="1890450" y="1588219"/>
                </a:cubicBezTo>
                <a:lnTo>
                  <a:pt x="2093156" y="1385512"/>
                </a:lnTo>
                <a:cubicBezTo>
                  <a:pt x="2142229" y="1470075"/>
                  <a:pt x="2168674" y="1568493"/>
                  <a:pt x="2168674" y="1673087"/>
                </a:cubicBezTo>
                <a:cubicBezTo>
                  <a:pt x="2168674" y="2008450"/>
                  <a:pt x="1896808" y="2280316"/>
                  <a:pt x="1561445" y="2280316"/>
                </a:cubicBezTo>
                <a:cubicBezTo>
                  <a:pt x="1226082" y="2280316"/>
                  <a:pt x="954217" y="2008450"/>
                  <a:pt x="954217" y="1673087"/>
                </a:cubicBezTo>
                <a:cubicBezTo>
                  <a:pt x="954217" y="1337724"/>
                  <a:pt x="1226082" y="1065858"/>
                  <a:pt x="1561445" y="1065858"/>
                </a:cubicBezTo>
                <a:close/>
                <a:moveTo>
                  <a:pt x="1561445" y="580076"/>
                </a:moveTo>
                <a:cubicBezTo>
                  <a:pt x="1790175" y="580076"/>
                  <a:pt x="2002494" y="650333"/>
                  <a:pt x="2177834" y="770690"/>
                </a:cubicBezTo>
                <a:lnTo>
                  <a:pt x="1968030" y="980494"/>
                </a:lnTo>
                <a:cubicBezTo>
                  <a:pt x="1849962" y="907198"/>
                  <a:pt x="1710422" y="866794"/>
                  <a:pt x="1561445" y="866794"/>
                </a:cubicBezTo>
                <a:cubicBezTo>
                  <a:pt x="1116142" y="866794"/>
                  <a:pt x="755153" y="1227784"/>
                  <a:pt x="755153" y="1673087"/>
                </a:cubicBezTo>
                <a:cubicBezTo>
                  <a:pt x="755153" y="2118390"/>
                  <a:pt x="1116142" y="2479380"/>
                  <a:pt x="1561445" y="2479380"/>
                </a:cubicBezTo>
                <a:cubicBezTo>
                  <a:pt x="2006748" y="2479380"/>
                  <a:pt x="2367738" y="2118390"/>
                  <a:pt x="2367738" y="1673087"/>
                </a:cubicBezTo>
                <a:cubicBezTo>
                  <a:pt x="2367738" y="1513043"/>
                  <a:pt x="2321108" y="1363890"/>
                  <a:pt x="2239307" y="1239362"/>
                </a:cubicBezTo>
                <a:lnTo>
                  <a:pt x="2445928" y="1032741"/>
                </a:lnTo>
                <a:cubicBezTo>
                  <a:pt x="2577451" y="1212149"/>
                  <a:pt x="2654457" y="1433625"/>
                  <a:pt x="2654457" y="1673087"/>
                </a:cubicBezTo>
                <a:cubicBezTo>
                  <a:pt x="2654457" y="2276741"/>
                  <a:pt x="2165099" y="2766099"/>
                  <a:pt x="1561445" y="2766099"/>
                </a:cubicBezTo>
                <a:cubicBezTo>
                  <a:pt x="957792" y="2766099"/>
                  <a:pt x="468434" y="2276741"/>
                  <a:pt x="468434" y="1673087"/>
                </a:cubicBezTo>
                <a:cubicBezTo>
                  <a:pt x="468434" y="1069433"/>
                  <a:pt x="957792" y="580076"/>
                  <a:pt x="1561445" y="580076"/>
                </a:cubicBezTo>
                <a:close/>
                <a:moveTo>
                  <a:pt x="1561445" y="111642"/>
                </a:moveTo>
                <a:cubicBezTo>
                  <a:pt x="1890473" y="111642"/>
                  <a:pt x="2195731" y="213411"/>
                  <a:pt x="2447076" y="387744"/>
                </a:cubicBezTo>
                <a:lnTo>
                  <a:pt x="2453780" y="494744"/>
                </a:lnTo>
                <a:lnTo>
                  <a:pt x="2309436" y="639088"/>
                </a:lnTo>
                <a:cubicBezTo>
                  <a:pt x="2099826" y="485554"/>
                  <a:pt x="1841132" y="395669"/>
                  <a:pt x="1561445" y="395669"/>
                </a:cubicBezTo>
                <a:cubicBezTo>
                  <a:pt x="855947" y="395669"/>
                  <a:pt x="284027" y="967589"/>
                  <a:pt x="284027" y="1673087"/>
                </a:cubicBezTo>
                <a:cubicBezTo>
                  <a:pt x="284027" y="2378585"/>
                  <a:pt x="855947" y="2950505"/>
                  <a:pt x="1561445" y="2950505"/>
                </a:cubicBezTo>
                <a:cubicBezTo>
                  <a:pt x="2266943" y="2950505"/>
                  <a:pt x="2838863" y="2378585"/>
                  <a:pt x="2838863" y="1673087"/>
                </a:cubicBezTo>
                <a:cubicBezTo>
                  <a:pt x="2838863" y="1382650"/>
                  <a:pt x="2741936" y="1114852"/>
                  <a:pt x="2577529" y="901139"/>
                </a:cubicBezTo>
                <a:lnTo>
                  <a:pt x="2706681" y="771988"/>
                </a:lnTo>
                <a:lnTo>
                  <a:pt x="2841540" y="780437"/>
                </a:lnTo>
                <a:cubicBezTo>
                  <a:pt x="3019168" y="1032973"/>
                  <a:pt x="3122890" y="1340917"/>
                  <a:pt x="3122890" y="1673087"/>
                </a:cubicBezTo>
                <a:cubicBezTo>
                  <a:pt x="3122890" y="2535449"/>
                  <a:pt x="2423807" y="3234532"/>
                  <a:pt x="1561445" y="3234532"/>
                </a:cubicBezTo>
                <a:cubicBezTo>
                  <a:pt x="699083" y="3234532"/>
                  <a:pt x="0" y="2535449"/>
                  <a:pt x="0" y="1673087"/>
                </a:cubicBezTo>
                <a:cubicBezTo>
                  <a:pt x="0" y="810725"/>
                  <a:pt x="699083" y="111642"/>
                  <a:pt x="1561445" y="111642"/>
                </a:cubicBezTo>
                <a:close/>
                <a:moveTo>
                  <a:pt x="2909110" y="0"/>
                </a:moveTo>
                <a:lnTo>
                  <a:pt x="2926757" y="281655"/>
                </a:lnTo>
                <a:lnTo>
                  <a:pt x="3208412" y="299301"/>
                </a:lnTo>
                <a:lnTo>
                  <a:pt x="2863230" y="644483"/>
                </a:lnTo>
                <a:lnTo>
                  <a:pt x="2685547" y="633351"/>
                </a:lnTo>
                <a:lnTo>
                  <a:pt x="1718098" y="1600799"/>
                </a:lnTo>
                <a:cubicBezTo>
                  <a:pt x="1729236" y="1622491"/>
                  <a:pt x="1734939" y="1647123"/>
                  <a:pt x="1734939" y="1673087"/>
                </a:cubicBezTo>
                <a:cubicBezTo>
                  <a:pt x="1734939" y="1768905"/>
                  <a:pt x="1657263" y="1846581"/>
                  <a:pt x="1561445" y="1846581"/>
                </a:cubicBezTo>
                <a:cubicBezTo>
                  <a:pt x="1465627" y="1846581"/>
                  <a:pt x="1387951" y="1768905"/>
                  <a:pt x="1387951" y="1673087"/>
                </a:cubicBezTo>
                <a:cubicBezTo>
                  <a:pt x="1387951" y="1577269"/>
                  <a:pt x="1465627" y="1499593"/>
                  <a:pt x="1561445" y="1499593"/>
                </a:cubicBezTo>
                <a:lnTo>
                  <a:pt x="1591006" y="1505561"/>
                </a:lnTo>
                <a:lnTo>
                  <a:pt x="2574981" y="521587"/>
                </a:lnTo>
                <a:lnTo>
                  <a:pt x="2563928" y="3451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95" latinLnBrk="1"/>
            <a:endParaRPr lang="ko-KR" altLang="en-US" sz="2400">
              <a:solidFill>
                <a:prstClr val="black"/>
              </a:solidFill>
              <a:latin typeface="+mj-lt"/>
              <a:ea typeface="Arial Unicode MS"/>
            </a:endParaRPr>
          </a:p>
        </p:txBody>
      </p:sp>
      <p:sp>
        <p:nvSpPr>
          <p:cNvPr id="37" name="Teardrop 6"/>
          <p:cNvSpPr/>
          <p:nvPr/>
        </p:nvSpPr>
        <p:spPr>
          <a:xfrm rot="8100000">
            <a:off x="6799794" y="3943493"/>
            <a:ext cx="397876" cy="397876"/>
          </a:xfrm>
          <a:custGeom>
            <a:avLst/>
            <a:gdLst/>
            <a:ahLst/>
            <a:cxnLst/>
            <a:rect l="l" t="t" r="r" b="b"/>
            <a:pathLst>
              <a:path w="2483832" h="2483835">
                <a:moveTo>
                  <a:pt x="657616" y="1826218"/>
                </a:moveTo>
                <a:cubicBezTo>
                  <a:pt x="806520" y="1975122"/>
                  <a:pt x="1047940" y="1975122"/>
                  <a:pt x="1196844" y="1826218"/>
                </a:cubicBezTo>
                <a:cubicBezTo>
                  <a:pt x="1345748" y="1677314"/>
                  <a:pt x="1345748" y="1435894"/>
                  <a:pt x="1196844" y="1286990"/>
                </a:cubicBezTo>
                <a:cubicBezTo>
                  <a:pt x="1047940" y="1138086"/>
                  <a:pt x="806520" y="1138086"/>
                  <a:pt x="657616" y="1286990"/>
                </a:cubicBezTo>
                <a:cubicBezTo>
                  <a:pt x="508712" y="1435894"/>
                  <a:pt x="508712" y="1677314"/>
                  <a:pt x="657616" y="1826218"/>
                </a:cubicBezTo>
                <a:close/>
                <a:moveTo>
                  <a:pt x="293335" y="2190500"/>
                </a:moveTo>
                <a:cubicBezTo>
                  <a:pt x="112098" y="2009262"/>
                  <a:pt x="0" y="1758885"/>
                  <a:pt x="0" y="1482325"/>
                </a:cubicBezTo>
                <a:cubicBezTo>
                  <a:pt x="0" y="929206"/>
                  <a:pt x="459290" y="590078"/>
                  <a:pt x="1001509" y="480815"/>
                </a:cubicBezTo>
                <a:cubicBezTo>
                  <a:pt x="1569704" y="366317"/>
                  <a:pt x="1861757" y="259925"/>
                  <a:pt x="2483832" y="0"/>
                </a:cubicBezTo>
                <a:cubicBezTo>
                  <a:pt x="2230640" y="682694"/>
                  <a:pt x="2130986" y="873716"/>
                  <a:pt x="2003018" y="1482325"/>
                </a:cubicBezTo>
                <a:cubicBezTo>
                  <a:pt x="1901990" y="2042180"/>
                  <a:pt x="1554627" y="2483835"/>
                  <a:pt x="1001509" y="2483835"/>
                </a:cubicBezTo>
                <a:cubicBezTo>
                  <a:pt x="724950" y="2483835"/>
                  <a:pt x="474573" y="2371737"/>
                  <a:pt x="293335" y="219050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8" tIns="60960" rIns="121918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95" latinLnBrk="1"/>
            <a:endParaRPr lang="ko-KR" altLang="en-US" sz="2400">
              <a:solidFill>
                <a:prstClr val="white"/>
              </a:solidFill>
              <a:latin typeface="+mj-lt"/>
              <a:ea typeface="Arial Unicode MS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2077423" y="1319383"/>
            <a:ext cx="4201128" cy="2160470"/>
            <a:chOff x="1472558" y="998559"/>
            <a:chExt cx="2765965" cy="1620375"/>
          </a:xfrm>
        </p:grpSpPr>
        <p:sp>
          <p:nvSpPr>
            <p:cNvPr id="28" name="TextBox 27"/>
            <p:cNvSpPr txBox="1"/>
            <p:nvPr/>
          </p:nvSpPr>
          <p:spPr>
            <a:xfrm>
              <a:off x="1472558" y="1257003"/>
              <a:ext cx="2765965" cy="1361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defTabSz="1219195" latinLnBrk="1"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Arial Unicode MS"/>
                  <a:cs typeface="Arial" pitchFamily="34" charset="0"/>
                </a:rPr>
                <a:t>According to balance report of ABC, 2.4% YoY increment of account receivable overdue, which might lead to cash crunch and sales to get locked up</a:t>
              </a:r>
            </a:p>
            <a:p>
              <a:pPr marL="285750" indent="-285750" defTabSz="1219195" latinLnBrk="1"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Arial Unicode MS"/>
                  <a:cs typeface="Arial" pitchFamily="34" charset="0"/>
                </a:rPr>
                <a:t>There is a negative impact on the worth of receivables as the numbers of days overdue increases 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472558" y="998559"/>
              <a:ext cx="2765965" cy="2590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95" latinLnBrk="1"/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Arial Unicode MS"/>
                  <a:cs typeface="Arial" pitchFamily="34" charset="0"/>
                </a:rPr>
                <a:t>Background 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7612896" y="1313870"/>
            <a:ext cx="4102026" cy="1175583"/>
            <a:chOff x="1472558" y="998560"/>
            <a:chExt cx="2765965" cy="881700"/>
          </a:xfrm>
        </p:grpSpPr>
        <p:sp>
          <p:nvSpPr>
            <p:cNvPr id="55" name="TextBox 54"/>
            <p:cNvSpPr txBox="1"/>
            <p:nvPr/>
          </p:nvSpPr>
          <p:spPr>
            <a:xfrm>
              <a:off x="1472558" y="1257003"/>
              <a:ext cx="2765965" cy="6232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defTabSz="1219195" latinLnBrk="1"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Arial Unicode MS"/>
                  <a:cs typeface="Arial" pitchFamily="34" charset="0"/>
                </a:rPr>
                <a:t>Identify measures to reduce account receivable overdue for ABC and come up with effective collection efforts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472558" y="998560"/>
              <a:ext cx="2765965" cy="2590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95" latinLnBrk="1"/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Arial Unicode MS"/>
                  <a:cs typeface="Arial" pitchFamily="34" charset="0"/>
                </a:rPr>
                <a:t>Desired outcome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2052849" y="5015277"/>
            <a:ext cx="4043150" cy="929362"/>
            <a:chOff x="1472558" y="998559"/>
            <a:chExt cx="2765965" cy="697031"/>
          </a:xfrm>
        </p:grpSpPr>
        <p:sp>
          <p:nvSpPr>
            <p:cNvPr id="58" name="TextBox 57"/>
            <p:cNvSpPr txBox="1"/>
            <p:nvPr/>
          </p:nvSpPr>
          <p:spPr>
            <a:xfrm>
              <a:off x="1472558" y="1257003"/>
              <a:ext cx="2765965" cy="4385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defTabSz="1219195" latinLnBrk="1"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Arial Unicode MS"/>
                  <a:cs typeface="Arial" pitchFamily="34" charset="0"/>
                </a:rPr>
                <a:t>Any alteration to the existing client contracts is out of scope 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472558" y="998559"/>
              <a:ext cx="2765965" cy="2590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95" latinLnBrk="1"/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Arial Unicode MS"/>
                  <a:cs typeface="Arial" pitchFamily="34" charset="0"/>
                </a:rPr>
                <a:t>Scope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2052848" y="3643077"/>
            <a:ext cx="4043151" cy="1421803"/>
            <a:chOff x="1472558" y="998559"/>
            <a:chExt cx="2765965" cy="1066368"/>
          </a:xfrm>
        </p:grpSpPr>
        <p:sp>
          <p:nvSpPr>
            <p:cNvPr id="64" name="TextBox 63"/>
            <p:cNvSpPr txBox="1"/>
            <p:nvPr/>
          </p:nvSpPr>
          <p:spPr>
            <a:xfrm>
              <a:off x="1472558" y="1257002"/>
              <a:ext cx="2765965" cy="807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defTabSz="1219195" latinLnBrk="1"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Arial Unicode MS"/>
                  <a:cs typeface="Arial" pitchFamily="34" charset="0"/>
                </a:rPr>
                <a:t>The cost of collection optimization efforts cannot exceed 10% of overdue amount</a:t>
              </a:r>
            </a:p>
            <a:p>
              <a:pPr marL="285750" indent="-285750" defTabSz="1219195" latinLnBrk="1"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Arial Unicode MS"/>
                  <a:cs typeface="Arial" pitchFamily="34" charset="0"/>
                </a:rPr>
                <a:t>Have to comply with the existing clients agreements 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1472558" y="998559"/>
              <a:ext cx="2765965" cy="2590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95" latinLnBrk="1"/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Arial Unicode MS"/>
                  <a:cs typeface="Arial" pitchFamily="34" charset="0"/>
                </a:rPr>
                <a:t>Constraints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7612896" y="3617272"/>
            <a:ext cx="4043150" cy="978608"/>
            <a:chOff x="1472558" y="998559"/>
            <a:chExt cx="2765965" cy="733966"/>
          </a:xfrm>
        </p:grpSpPr>
        <p:sp>
          <p:nvSpPr>
            <p:cNvPr id="67" name="TextBox 66"/>
            <p:cNvSpPr txBox="1"/>
            <p:nvPr/>
          </p:nvSpPr>
          <p:spPr>
            <a:xfrm>
              <a:off x="1472558" y="1257003"/>
              <a:ext cx="2765965" cy="4755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66393" lvl="1" indent="-166393" algn="just">
                <a:spcBef>
                  <a:spcPct val="20000"/>
                </a:spcBef>
                <a:buClr>
                  <a:schemeClr val="tx1"/>
                </a:buClr>
                <a:buFont typeface="Arial" charset="0"/>
                <a:buChar char="•"/>
              </a:pPr>
              <a:r>
                <a:rPr 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CFO at ABC</a:t>
              </a:r>
            </a:p>
            <a:p>
              <a:pPr marL="166393" lvl="1" indent="-166393" algn="just">
                <a:spcBef>
                  <a:spcPct val="20000"/>
                </a:spcBef>
                <a:buClr>
                  <a:schemeClr val="tx1"/>
                </a:buClr>
                <a:buFont typeface="Arial" charset="0"/>
                <a:buChar char="•"/>
              </a:pPr>
              <a:r>
                <a:rPr 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Finance department at ABC </a:t>
              </a: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1472558" y="998559"/>
              <a:ext cx="2765965" cy="2590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95" latinLnBrk="1"/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Arial Unicode MS"/>
                  <a:cs typeface="Arial" pitchFamily="34" charset="0"/>
                </a:rPr>
                <a:t>Stakeholders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ea typeface="Arial Unicode MS"/>
                <a:cs typeface="Arial" pitchFamily="34" charset="0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7612896" y="5289383"/>
            <a:ext cx="4102026" cy="1274072"/>
            <a:chOff x="1472558" y="998559"/>
            <a:chExt cx="2765965" cy="955568"/>
          </a:xfrm>
        </p:grpSpPr>
        <p:sp>
          <p:nvSpPr>
            <p:cNvPr id="70" name="TextBox 69"/>
            <p:cNvSpPr txBox="1"/>
            <p:nvPr/>
          </p:nvSpPr>
          <p:spPr>
            <a:xfrm>
              <a:off x="1472558" y="1257003"/>
              <a:ext cx="2765965" cy="6971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66393" lvl="1" indent="-166393" algn="just">
                <a:spcBef>
                  <a:spcPct val="20000"/>
                </a:spcBef>
                <a:buClr>
                  <a:schemeClr val="tx1"/>
                </a:buClr>
                <a:buFont typeface="Arial" charset="0"/>
                <a:buChar char="•"/>
              </a:pPr>
              <a:r>
                <a:rPr 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General ledger report</a:t>
              </a:r>
            </a:p>
            <a:p>
              <a:pPr marL="166393" lvl="1" indent="-166393" algn="just">
                <a:spcBef>
                  <a:spcPct val="20000"/>
                </a:spcBef>
                <a:buClr>
                  <a:schemeClr val="tx1"/>
                </a:buClr>
                <a:buFont typeface="Arial" charset="0"/>
                <a:buChar char="•"/>
              </a:pPr>
              <a:r>
                <a:rPr 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Invoice &amp; Sale data</a:t>
              </a:r>
            </a:p>
            <a:p>
              <a:pPr marL="166393" lvl="1" indent="-166393" algn="just">
                <a:spcBef>
                  <a:spcPct val="20000"/>
                </a:spcBef>
                <a:buClr>
                  <a:schemeClr val="tx1"/>
                </a:buClr>
                <a:buFont typeface="Arial" charset="0"/>
                <a:buChar char="•"/>
              </a:pPr>
              <a:r>
                <a:rPr 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CRM data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472558" y="998559"/>
              <a:ext cx="2765965" cy="2590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95" latinLnBrk="1"/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Arial Unicode MS"/>
                  <a:cs typeface="Arial" pitchFamily="34" charset="0"/>
                </a:rPr>
                <a:t>Resources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12" name="Oval 21"/>
          <p:cNvSpPr>
            <a:spLocks noChangeAspect="1"/>
          </p:cNvSpPr>
          <p:nvPr/>
        </p:nvSpPr>
        <p:spPr>
          <a:xfrm>
            <a:off x="1257305" y="3906573"/>
            <a:ext cx="433704" cy="437327"/>
          </a:xfrm>
          <a:custGeom>
            <a:avLst/>
            <a:gdLst/>
            <a:ahLst/>
            <a:cxnLst/>
            <a:rect l="l" t="t" r="r" b="b"/>
            <a:pathLst>
              <a:path w="1652142" h="1665940">
                <a:moveTo>
                  <a:pt x="898689" y="548008"/>
                </a:moveTo>
                <a:cubicBezTo>
                  <a:pt x="737950" y="504938"/>
                  <a:pt x="572731" y="600328"/>
                  <a:pt x="529661" y="761066"/>
                </a:cubicBezTo>
                <a:cubicBezTo>
                  <a:pt x="486591" y="921805"/>
                  <a:pt x="581980" y="1087025"/>
                  <a:pt x="742719" y="1130094"/>
                </a:cubicBezTo>
                <a:cubicBezTo>
                  <a:pt x="903458" y="1173164"/>
                  <a:pt x="1068677" y="1077775"/>
                  <a:pt x="1111747" y="917036"/>
                </a:cubicBezTo>
                <a:cubicBezTo>
                  <a:pt x="1154817" y="756297"/>
                  <a:pt x="1059428" y="591077"/>
                  <a:pt x="898689" y="548008"/>
                </a:cubicBezTo>
                <a:close/>
                <a:moveTo>
                  <a:pt x="952303" y="347916"/>
                </a:moveTo>
                <a:cubicBezTo>
                  <a:pt x="1223549" y="420596"/>
                  <a:pt x="1384519" y="699404"/>
                  <a:pt x="1311839" y="970650"/>
                </a:cubicBezTo>
                <a:cubicBezTo>
                  <a:pt x="1239159" y="1241896"/>
                  <a:pt x="960351" y="1402866"/>
                  <a:pt x="689105" y="1330186"/>
                </a:cubicBezTo>
                <a:cubicBezTo>
                  <a:pt x="417859" y="1257506"/>
                  <a:pt x="256889" y="978698"/>
                  <a:pt x="329569" y="707451"/>
                </a:cubicBezTo>
                <a:cubicBezTo>
                  <a:pt x="402249" y="436205"/>
                  <a:pt x="681057" y="275235"/>
                  <a:pt x="952303" y="347916"/>
                </a:cubicBezTo>
                <a:close/>
                <a:moveTo>
                  <a:pt x="971799" y="275155"/>
                </a:moveTo>
                <a:cubicBezTo>
                  <a:pt x="660368" y="191707"/>
                  <a:pt x="340256" y="376524"/>
                  <a:pt x="256808" y="687955"/>
                </a:cubicBezTo>
                <a:cubicBezTo>
                  <a:pt x="173361" y="999387"/>
                  <a:pt x="358178" y="1319499"/>
                  <a:pt x="669609" y="1402947"/>
                </a:cubicBezTo>
                <a:cubicBezTo>
                  <a:pt x="981040" y="1486395"/>
                  <a:pt x="1301152" y="1301577"/>
                  <a:pt x="1384600" y="990146"/>
                </a:cubicBezTo>
                <a:cubicBezTo>
                  <a:pt x="1468047" y="678715"/>
                  <a:pt x="1283230" y="358603"/>
                  <a:pt x="971799" y="275155"/>
                </a:cubicBezTo>
                <a:close/>
                <a:moveTo>
                  <a:pt x="1652142" y="394531"/>
                </a:moveTo>
                <a:lnTo>
                  <a:pt x="1649662" y="403784"/>
                </a:lnTo>
                <a:lnTo>
                  <a:pt x="1647140" y="399895"/>
                </a:lnTo>
                <a:close/>
                <a:moveTo>
                  <a:pt x="1158157" y="65026"/>
                </a:moveTo>
                <a:lnTo>
                  <a:pt x="1154679" y="271718"/>
                </a:lnTo>
                <a:lnTo>
                  <a:pt x="1148331" y="270017"/>
                </a:lnTo>
                <a:cubicBezTo>
                  <a:pt x="1200055" y="299127"/>
                  <a:pt x="1246804" y="334821"/>
                  <a:pt x="1286346" y="377149"/>
                </a:cubicBezTo>
                <a:lnTo>
                  <a:pt x="1470353" y="331395"/>
                </a:lnTo>
                <a:lnTo>
                  <a:pt x="1588305" y="553229"/>
                </a:lnTo>
                <a:lnTo>
                  <a:pt x="1457194" y="671432"/>
                </a:lnTo>
                <a:cubicBezTo>
                  <a:pt x="1473630" y="731297"/>
                  <a:pt x="1481376" y="793983"/>
                  <a:pt x="1478595" y="857704"/>
                </a:cubicBezTo>
                <a:lnTo>
                  <a:pt x="1642362" y="948616"/>
                </a:lnTo>
                <a:lnTo>
                  <a:pt x="1577335" y="1191298"/>
                </a:lnTo>
                <a:lnTo>
                  <a:pt x="1378614" y="1187955"/>
                </a:lnTo>
                <a:cubicBezTo>
                  <a:pt x="1353489" y="1229936"/>
                  <a:pt x="1323048" y="1267799"/>
                  <a:pt x="1288939" y="1301599"/>
                </a:cubicBezTo>
                <a:lnTo>
                  <a:pt x="1354201" y="1471932"/>
                </a:lnTo>
                <a:lnTo>
                  <a:pt x="1148396" y="1616039"/>
                </a:lnTo>
                <a:lnTo>
                  <a:pt x="992294" y="1480516"/>
                </a:lnTo>
                <a:lnTo>
                  <a:pt x="1011291" y="1467215"/>
                </a:lnTo>
                <a:cubicBezTo>
                  <a:pt x="951500" y="1486565"/>
                  <a:pt x="888271" y="1495869"/>
                  <a:pt x="823805" y="1495510"/>
                </a:cubicBezTo>
                <a:lnTo>
                  <a:pt x="729193" y="1665940"/>
                </a:lnTo>
                <a:lnTo>
                  <a:pt x="486511" y="1600914"/>
                </a:lnTo>
                <a:lnTo>
                  <a:pt x="489790" y="1406012"/>
                </a:lnTo>
                <a:cubicBezTo>
                  <a:pt x="438364" y="1376702"/>
                  <a:pt x="391917" y="1340859"/>
                  <a:pt x="352658" y="1298452"/>
                </a:cubicBezTo>
                <a:lnTo>
                  <a:pt x="355803" y="1305197"/>
                </a:lnTo>
                <a:lnTo>
                  <a:pt x="152856" y="1344512"/>
                </a:lnTo>
                <a:lnTo>
                  <a:pt x="46675" y="1116809"/>
                </a:lnTo>
                <a:lnTo>
                  <a:pt x="183929" y="1005520"/>
                </a:lnTo>
                <a:cubicBezTo>
                  <a:pt x="169279" y="951824"/>
                  <a:pt x="161626" y="895865"/>
                  <a:pt x="161615" y="838915"/>
                </a:cubicBezTo>
                <a:lnTo>
                  <a:pt x="0" y="749197"/>
                </a:lnTo>
                <a:lnTo>
                  <a:pt x="65026" y="506515"/>
                </a:lnTo>
                <a:lnTo>
                  <a:pt x="250227" y="509630"/>
                </a:lnTo>
                <a:cubicBezTo>
                  <a:pt x="275353" y="465291"/>
                  <a:pt x="305693" y="424864"/>
                  <a:pt x="340015" y="388679"/>
                </a:cubicBezTo>
                <a:lnTo>
                  <a:pt x="277984" y="197357"/>
                </a:lnTo>
                <a:lnTo>
                  <a:pt x="491050" y="64219"/>
                </a:lnTo>
                <a:lnTo>
                  <a:pt x="639843" y="207726"/>
                </a:lnTo>
                <a:lnTo>
                  <a:pt x="638348" y="208660"/>
                </a:lnTo>
                <a:cubicBezTo>
                  <a:pt x="696840" y="190256"/>
                  <a:pt x="758594" y="181748"/>
                  <a:pt x="821488" y="182440"/>
                </a:cubicBezTo>
                <a:lnTo>
                  <a:pt x="815140" y="180739"/>
                </a:lnTo>
                <a:lnTo>
                  <a:pt x="91547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8" tIns="60960" rIns="121918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95" latinLnBrk="1"/>
            <a:endParaRPr lang="ko-KR" altLang="en-US" sz="2400">
              <a:solidFill>
                <a:prstClr val="white"/>
              </a:solidFill>
              <a:latin typeface="+mj-lt"/>
              <a:ea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186542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BA0A24-3422-4FC3-A2EA-9C02297D1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888" y="86635"/>
            <a:ext cx="11621212" cy="658252"/>
          </a:xfrm>
        </p:spPr>
        <p:txBody>
          <a:bodyPr/>
          <a:lstStyle/>
          <a:p>
            <a:r>
              <a:rPr lang="en-US" dirty="0"/>
              <a:t>Issue Tre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1858DB-2FEE-4109-BA10-131DF97B75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888" y="861391"/>
            <a:ext cx="11513538" cy="5349063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6" name="Text Box 3">
            <a:extLst>
              <a:ext uri="{FF2B5EF4-FFF2-40B4-BE49-F238E27FC236}">
                <a16:creationId xmlns:a16="http://schemas.microsoft.com/office/drawing/2014/main" id="{392BEFE4-7FFB-4153-A721-00E72C11D4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0657" y="3453632"/>
            <a:ext cx="1519961" cy="8360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  <a:ea typeface="MS PGothic"/>
              </a:rPr>
              <a:t>How can we reduce the account receivable overdue?</a:t>
            </a:r>
          </a:p>
        </p:txBody>
      </p:sp>
      <p:sp>
        <p:nvSpPr>
          <p:cNvPr id="8" name="Text Box 3">
            <a:extLst>
              <a:ext uri="{FF2B5EF4-FFF2-40B4-BE49-F238E27FC236}">
                <a16:creationId xmlns:a16="http://schemas.microsoft.com/office/drawing/2014/main" id="{02F2F836-DC7D-4454-8D7E-A7C20FB6AB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06875" y="2319548"/>
            <a:ext cx="1517708" cy="6237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IN" sz="1176" dirty="0">
                <a:solidFill>
                  <a:prstClr val="black"/>
                </a:solidFill>
                <a:latin typeface="Arial"/>
                <a:ea typeface="MS PGothic"/>
              </a:rPr>
              <a:t>Improve Credit Practices</a:t>
            </a:r>
            <a:endParaRPr lang="en-IN" sz="1176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" name="Text Box 3">
            <a:extLst>
              <a:ext uri="{FF2B5EF4-FFF2-40B4-BE49-F238E27FC236}">
                <a16:creationId xmlns:a16="http://schemas.microsoft.com/office/drawing/2014/main" id="{D01D445D-535C-47A9-9FD2-1B7DF38C52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06875" y="5017561"/>
            <a:ext cx="1504505" cy="55285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IN" sz="1176" dirty="0">
                <a:solidFill>
                  <a:prstClr val="black"/>
                </a:solidFill>
                <a:latin typeface="Arial"/>
                <a:ea typeface="MS PGothic"/>
              </a:rPr>
              <a:t>Improve Collection Strategies</a:t>
            </a:r>
          </a:p>
        </p:txBody>
      </p:sp>
      <p:sp>
        <p:nvSpPr>
          <p:cNvPr id="13" name="Text Box 3">
            <a:extLst>
              <a:ext uri="{FF2B5EF4-FFF2-40B4-BE49-F238E27FC236}">
                <a16:creationId xmlns:a16="http://schemas.microsoft.com/office/drawing/2014/main" id="{F7D1676F-6080-4323-B2C1-02A0ACB106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95225" y="1876765"/>
            <a:ext cx="1519961" cy="6237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IN" sz="1176" dirty="0">
                <a:solidFill>
                  <a:prstClr val="black"/>
                </a:solidFill>
                <a:latin typeface="Arial"/>
                <a:ea typeface="MS PGothic"/>
              </a:rPr>
              <a:t>Improve the credit approval process </a:t>
            </a:r>
            <a:endParaRPr lang="en-IN" sz="1176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Oval 24">
            <a:extLst>
              <a:ext uri="{FF2B5EF4-FFF2-40B4-BE49-F238E27FC236}">
                <a16:creationId xmlns:a16="http://schemas.microsoft.com/office/drawing/2014/main" id="{F504E54E-BF08-4F35-BAF9-ED87EB4BF3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2684" y="4733814"/>
            <a:ext cx="311259" cy="311259"/>
          </a:xfrm>
          <a:prstGeom prst="ellipse">
            <a:avLst/>
          </a:prstGeom>
          <a:solidFill>
            <a:srgbClr val="FFFF00"/>
          </a:solidFill>
          <a:ln w="12700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50000"/>
              </a:spcBef>
            </a:pPr>
            <a:r>
              <a:rPr lang="en-GB" sz="980" b="1" dirty="0">
                <a:solidFill>
                  <a:srgbClr val="000000"/>
                </a:solidFill>
                <a:latin typeface="Arial"/>
              </a:rPr>
              <a:t>B1</a:t>
            </a:r>
          </a:p>
        </p:txBody>
      </p:sp>
      <p:sp>
        <p:nvSpPr>
          <p:cNvPr id="225" name="Text Box 3">
            <a:extLst>
              <a:ext uri="{FF2B5EF4-FFF2-40B4-BE49-F238E27FC236}">
                <a16:creationId xmlns:a16="http://schemas.microsoft.com/office/drawing/2014/main" id="{4195B693-923A-4CE0-B89D-6546D5D849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95225" y="3521699"/>
            <a:ext cx="1519961" cy="6237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IN" sz="1176" dirty="0">
                <a:solidFill>
                  <a:prstClr val="black"/>
                </a:solidFill>
                <a:latin typeface="Arial"/>
                <a:ea typeface="MS PGothic"/>
              </a:rPr>
              <a:t>Maintain accurate customer data </a:t>
            </a:r>
            <a:endParaRPr lang="en-IN" sz="1176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30" name="Text Box 3">
            <a:extLst>
              <a:ext uri="{FF2B5EF4-FFF2-40B4-BE49-F238E27FC236}">
                <a16:creationId xmlns:a16="http://schemas.microsoft.com/office/drawing/2014/main" id="{E00A991A-CD7C-40E1-9925-8E46CE326E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04502" y="4655156"/>
            <a:ext cx="1506709" cy="6237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  <a:ea typeface="MS PGothic"/>
              </a:rPr>
              <a:t>Detect anomalies in customer data</a:t>
            </a:r>
          </a:p>
        </p:txBody>
      </p:sp>
      <p:sp>
        <p:nvSpPr>
          <p:cNvPr id="232" name="Text Box 3">
            <a:extLst>
              <a:ext uri="{FF2B5EF4-FFF2-40B4-BE49-F238E27FC236}">
                <a16:creationId xmlns:a16="http://schemas.microsoft.com/office/drawing/2014/main" id="{29B38B18-139F-48E1-B6FF-5ADCDFD87A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09361" y="4653685"/>
            <a:ext cx="1519961" cy="62526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>
            <a:defPPr>
              <a:defRPr lang="en-US"/>
            </a:defPPr>
            <a:lvl1pPr algn="ctr">
              <a:defRPr sz="1176">
                <a:solidFill>
                  <a:schemeClr val="bg1"/>
                </a:solidFill>
                <a:latin typeface="Arial"/>
                <a:ea typeface="MS PGothic"/>
              </a:defRPr>
            </a:lvl1pPr>
          </a:lstStyle>
          <a:p>
            <a:r>
              <a:rPr lang="en-US" dirty="0"/>
              <a:t>Regularly audit the database </a:t>
            </a:r>
          </a:p>
        </p:txBody>
      </p:sp>
      <p:sp>
        <p:nvSpPr>
          <p:cNvPr id="234" name="Text Box 3">
            <a:extLst>
              <a:ext uri="{FF2B5EF4-FFF2-40B4-BE49-F238E27FC236}">
                <a16:creationId xmlns:a16="http://schemas.microsoft.com/office/drawing/2014/main" id="{AF58D6DD-8E0C-4BE6-987D-73A6668BBE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04502" y="3723781"/>
            <a:ext cx="1519961" cy="6237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IN" sz="1176" dirty="0">
                <a:solidFill>
                  <a:prstClr val="black"/>
                </a:solidFill>
                <a:latin typeface="Arial"/>
                <a:ea typeface="MS PGothic"/>
              </a:rPr>
              <a:t>Regularly update customer data</a:t>
            </a:r>
          </a:p>
        </p:txBody>
      </p:sp>
      <p:sp>
        <p:nvSpPr>
          <p:cNvPr id="238" name="Text Box 3">
            <a:extLst>
              <a:ext uri="{FF2B5EF4-FFF2-40B4-BE49-F238E27FC236}">
                <a16:creationId xmlns:a16="http://schemas.microsoft.com/office/drawing/2014/main" id="{898730E4-89D6-4B33-A01D-34EDDE9C29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04502" y="5490307"/>
            <a:ext cx="1519961" cy="6230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  <a:ea typeface="MS PGothic"/>
              </a:rPr>
              <a:t>Implement controls to ensure data accuracy</a:t>
            </a:r>
          </a:p>
        </p:txBody>
      </p:sp>
      <p:sp>
        <p:nvSpPr>
          <p:cNvPr id="241" name="Text Box 3">
            <a:extLst>
              <a:ext uri="{FF2B5EF4-FFF2-40B4-BE49-F238E27FC236}">
                <a16:creationId xmlns:a16="http://schemas.microsoft.com/office/drawing/2014/main" id="{BB2EDDB1-8B29-4654-AA4D-C2548EC9B9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09361" y="3720889"/>
            <a:ext cx="1519961" cy="62379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>
            <a:defPPr>
              <a:defRPr lang="en-US"/>
            </a:defPPr>
            <a:lvl1pPr algn="ctr">
              <a:defRPr sz="1176">
                <a:solidFill>
                  <a:schemeClr val="bg1"/>
                </a:solidFill>
                <a:latin typeface="Arial"/>
                <a:ea typeface="MS PGothic"/>
              </a:defRPr>
            </a:lvl1pPr>
          </a:lstStyle>
          <a:p>
            <a:r>
              <a:rPr lang="en-IN" dirty="0"/>
              <a:t>Automated the process to reduce the risk of error</a:t>
            </a:r>
          </a:p>
        </p:txBody>
      </p:sp>
      <p:sp>
        <p:nvSpPr>
          <p:cNvPr id="243" name="Text Box 3">
            <a:extLst>
              <a:ext uri="{FF2B5EF4-FFF2-40B4-BE49-F238E27FC236}">
                <a16:creationId xmlns:a16="http://schemas.microsoft.com/office/drawing/2014/main" id="{39084506-546F-4C35-85A6-C155489BA8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09361" y="5490307"/>
            <a:ext cx="1519961" cy="62379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>
            <a:defPPr>
              <a:defRPr lang="en-US"/>
            </a:defPPr>
            <a:lvl1pPr algn="ctr">
              <a:defRPr sz="1176">
                <a:solidFill>
                  <a:schemeClr val="bg1"/>
                </a:solidFill>
                <a:latin typeface="Arial"/>
                <a:ea typeface="MS PGothic"/>
              </a:defRPr>
            </a:lvl1pPr>
          </a:lstStyle>
          <a:p>
            <a:r>
              <a:rPr lang="en-US" dirty="0"/>
              <a:t> Properly document the changes to customer data</a:t>
            </a:r>
          </a:p>
        </p:txBody>
      </p:sp>
      <p:sp>
        <p:nvSpPr>
          <p:cNvPr id="246" name="Text Box 3">
            <a:extLst>
              <a:ext uri="{FF2B5EF4-FFF2-40B4-BE49-F238E27FC236}">
                <a16:creationId xmlns:a16="http://schemas.microsoft.com/office/drawing/2014/main" id="{55CFBBF5-63F9-4C9A-B327-37BC4AC387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22323" y="2581047"/>
            <a:ext cx="1519961" cy="6237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  <a:ea typeface="MS PGothic"/>
              </a:rPr>
              <a:t>Set the optimal payment terms</a:t>
            </a:r>
          </a:p>
        </p:txBody>
      </p:sp>
      <p:sp>
        <p:nvSpPr>
          <p:cNvPr id="247" name="Text Box 3">
            <a:extLst>
              <a:ext uri="{FF2B5EF4-FFF2-40B4-BE49-F238E27FC236}">
                <a16:creationId xmlns:a16="http://schemas.microsoft.com/office/drawing/2014/main" id="{96580AE3-2DD1-472C-BFA2-33B0616C1F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09361" y="2040547"/>
            <a:ext cx="1519961" cy="70428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>
            <a:defPPr>
              <a:defRPr lang="en-US"/>
            </a:defPPr>
            <a:lvl1pPr algn="ctr">
              <a:defRPr sz="1176">
                <a:solidFill>
                  <a:schemeClr val="bg1"/>
                </a:solidFill>
                <a:latin typeface="Arial"/>
                <a:ea typeface="MS PGothic"/>
              </a:defRPr>
            </a:lvl1pPr>
          </a:lstStyle>
          <a:p>
            <a:r>
              <a:rPr lang="en-US" dirty="0"/>
              <a:t>Negotiate Payment Terms based on working cash flow for new customer</a:t>
            </a:r>
          </a:p>
        </p:txBody>
      </p:sp>
      <p:sp>
        <p:nvSpPr>
          <p:cNvPr id="248" name="Text Box 3">
            <a:extLst>
              <a:ext uri="{FF2B5EF4-FFF2-40B4-BE49-F238E27FC236}">
                <a16:creationId xmlns:a16="http://schemas.microsoft.com/office/drawing/2014/main" id="{81BBD735-5FFF-447E-8A19-684F2F3E49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09361" y="3007103"/>
            <a:ext cx="1519961" cy="62379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>
            <a:defPPr>
              <a:defRPr lang="en-US"/>
            </a:defPPr>
            <a:lvl1pPr algn="ctr">
              <a:defRPr sz="1176">
                <a:solidFill>
                  <a:schemeClr val="bg1"/>
                </a:solidFill>
                <a:latin typeface="Arial"/>
                <a:ea typeface="MS PGothic"/>
              </a:defRPr>
            </a:lvl1pPr>
          </a:lstStyle>
          <a:p>
            <a:r>
              <a:rPr lang="en-US" dirty="0"/>
              <a:t>Set the discount for early pay, within permissible limits</a:t>
            </a:r>
          </a:p>
        </p:txBody>
      </p:sp>
      <p:sp>
        <p:nvSpPr>
          <p:cNvPr id="249" name="Text Box 3">
            <a:extLst>
              <a:ext uri="{FF2B5EF4-FFF2-40B4-BE49-F238E27FC236}">
                <a16:creationId xmlns:a16="http://schemas.microsoft.com/office/drawing/2014/main" id="{0477E657-7D8E-4581-80DF-50FD29F242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9786" y="1330762"/>
            <a:ext cx="1519961" cy="6237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  <a:ea typeface="MS PGothic"/>
              </a:rPr>
              <a:t>Establish a clear, concise credit approval process</a:t>
            </a:r>
            <a:endParaRPr lang="en-IN" sz="1176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51" name="Text Box 3">
            <a:extLst>
              <a:ext uri="{FF2B5EF4-FFF2-40B4-BE49-F238E27FC236}">
                <a16:creationId xmlns:a16="http://schemas.microsoft.com/office/drawing/2014/main" id="{29FDBD1F-3CF5-4D75-968A-422D2BEC0E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09361" y="1095800"/>
            <a:ext cx="1519961" cy="62379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schemeClr val="bg1"/>
                </a:solidFill>
                <a:latin typeface="Arial"/>
                <a:ea typeface="MS PGothic"/>
              </a:rPr>
              <a:t>Regular reviews of the credit approval process</a:t>
            </a:r>
            <a:endParaRPr lang="en-IN" sz="1176" dirty="0">
              <a:solidFill>
                <a:schemeClr val="bg1"/>
              </a:solidFill>
              <a:latin typeface="Arial"/>
            </a:endParaRPr>
          </a:p>
        </p:txBody>
      </p:sp>
      <p:cxnSp>
        <p:nvCxnSpPr>
          <p:cNvPr id="253" name="Connector: Elbow 252">
            <a:extLst>
              <a:ext uri="{FF2B5EF4-FFF2-40B4-BE49-F238E27FC236}">
                <a16:creationId xmlns:a16="http://schemas.microsoft.com/office/drawing/2014/main" id="{05CA919B-FA66-4F07-8A32-631D5D4E61B2}"/>
              </a:ext>
            </a:extLst>
          </p:cNvPr>
          <p:cNvCxnSpPr>
            <a:stCxn id="8" idx="3"/>
            <a:endCxn id="225" idx="1"/>
          </p:cNvCxnSpPr>
          <p:nvPr/>
        </p:nvCxnSpPr>
        <p:spPr>
          <a:xfrm>
            <a:off x="4524583" y="2631444"/>
            <a:ext cx="570642" cy="120215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Connector: Elbow 255">
            <a:extLst>
              <a:ext uri="{FF2B5EF4-FFF2-40B4-BE49-F238E27FC236}">
                <a16:creationId xmlns:a16="http://schemas.microsoft.com/office/drawing/2014/main" id="{B7D75D03-FB78-4969-95DB-D690496EB1B7}"/>
              </a:ext>
            </a:extLst>
          </p:cNvPr>
          <p:cNvCxnSpPr>
            <a:cxnSpLocks/>
            <a:stCxn id="8" idx="3"/>
            <a:endCxn id="13" idx="1"/>
          </p:cNvCxnSpPr>
          <p:nvPr/>
        </p:nvCxnSpPr>
        <p:spPr>
          <a:xfrm flipV="1">
            <a:off x="4524583" y="2188661"/>
            <a:ext cx="570642" cy="44278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Connector: Elbow 259">
            <a:extLst>
              <a:ext uri="{FF2B5EF4-FFF2-40B4-BE49-F238E27FC236}">
                <a16:creationId xmlns:a16="http://schemas.microsoft.com/office/drawing/2014/main" id="{D67201CE-7B9F-484D-BEBC-7573A03052DD}"/>
              </a:ext>
            </a:extLst>
          </p:cNvPr>
          <p:cNvCxnSpPr>
            <a:stCxn id="225" idx="3"/>
            <a:endCxn id="234" idx="1"/>
          </p:cNvCxnSpPr>
          <p:nvPr/>
        </p:nvCxnSpPr>
        <p:spPr>
          <a:xfrm>
            <a:off x="6615186" y="3833595"/>
            <a:ext cx="389316" cy="202082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Connector: Elbow 263">
            <a:extLst>
              <a:ext uri="{FF2B5EF4-FFF2-40B4-BE49-F238E27FC236}">
                <a16:creationId xmlns:a16="http://schemas.microsoft.com/office/drawing/2014/main" id="{8A3ACA78-A49D-4347-9858-B1F490A16DA1}"/>
              </a:ext>
            </a:extLst>
          </p:cNvPr>
          <p:cNvCxnSpPr>
            <a:cxnSpLocks/>
            <a:stCxn id="225" idx="3"/>
            <a:endCxn id="230" idx="1"/>
          </p:cNvCxnSpPr>
          <p:nvPr/>
        </p:nvCxnSpPr>
        <p:spPr>
          <a:xfrm>
            <a:off x="6615186" y="3833595"/>
            <a:ext cx="389316" cy="1133457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Connector: Elbow 264">
            <a:extLst>
              <a:ext uri="{FF2B5EF4-FFF2-40B4-BE49-F238E27FC236}">
                <a16:creationId xmlns:a16="http://schemas.microsoft.com/office/drawing/2014/main" id="{57CC294A-E17C-41C3-A7BE-8AAD84C12107}"/>
              </a:ext>
            </a:extLst>
          </p:cNvPr>
          <p:cNvCxnSpPr>
            <a:cxnSpLocks/>
            <a:stCxn id="225" idx="3"/>
            <a:endCxn id="238" idx="1"/>
          </p:cNvCxnSpPr>
          <p:nvPr/>
        </p:nvCxnSpPr>
        <p:spPr>
          <a:xfrm>
            <a:off x="6615186" y="3833595"/>
            <a:ext cx="389316" cy="196824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Connector: Elbow 272">
            <a:extLst>
              <a:ext uri="{FF2B5EF4-FFF2-40B4-BE49-F238E27FC236}">
                <a16:creationId xmlns:a16="http://schemas.microsoft.com/office/drawing/2014/main" id="{36BC19E4-8D17-4913-8953-C92D2CD90F69}"/>
              </a:ext>
            </a:extLst>
          </p:cNvPr>
          <p:cNvCxnSpPr>
            <a:cxnSpLocks/>
            <a:stCxn id="246" idx="3"/>
            <a:endCxn id="247" idx="1"/>
          </p:cNvCxnSpPr>
          <p:nvPr/>
        </p:nvCxnSpPr>
        <p:spPr>
          <a:xfrm flipV="1">
            <a:off x="8542284" y="2392688"/>
            <a:ext cx="267077" cy="500255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Connector: Elbow 275">
            <a:extLst>
              <a:ext uri="{FF2B5EF4-FFF2-40B4-BE49-F238E27FC236}">
                <a16:creationId xmlns:a16="http://schemas.microsoft.com/office/drawing/2014/main" id="{50AF497F-87F4-4413-B733-FAC297C96945}"/>
              </a:ext>
            </a:extLst>
          </p:cNvPr>
          <p:cNvCxnSpPr>
            <a:cxnSpLocks/>
            <a:stCxn id="249" idx="3"/>
            <a:endCxn id="251" idx="1"/>
          </p:cNvCxnSpPr>
          <p:nvPr/>
        </p:nvCxnSpPr>
        <p:spPr>
          <a:xfrm flipV="1">
            <a:off x="8539747" y="1407696"/>
            <a:ext cx="269614" cy="23496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Connector: Elbow 278">
            <a:extLst>
              <a:ext uri="{FF2B5EF4-FFF2-40B4-BE49-F238E27FC236}">
                <a16:creationId xmlns:a16="http://schemas.microsoft.com/office/drawing/2014/main" id="{58D1030A-97C5-462A-8B45-E38C32E198C8}"/>
              </a:ext>
            </a:extLst>
          </p:cNvPr>
          <p:cNvCxnSpPr>
            <a:cxnSpLocks/>
            <a:stCxn id="246" idx="3"/>
            <a:endCxn id="248" idx="1"/>
          </p:cNvCxnSpPr>
          <p:nvPr/>
        </p:nvCxnSpPr>
        <p:spPr>
          <a:xfrm>
            <a:off x="8542284" y="2892943"/>
            <a:ext cx="267077" cy="42605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Connector: Elbow 284">
            <a:extLst>
              <a:ext uri="{FF2B5EF4-FFF2-40B4-BE49-F238E27FC236}">
                <a16:creationId xmlns:a16="http://schemas.microsoft.com/office/drawing/2014/main" id="{42E2C34B-2DF4-4171-8A14-78FE8B2F456D}"/>
              </a:ext>
            </a:extLst>
          </p:cNvPr>
          <p:cNvCxnSpPr>
            <a:cxnSpLocks/>
            <a:stCxn id="234" idx="3"/>
            <a:endCxn id="241" idx="1"/>
          </p:cNvCxnSpPr>
          <p:nvPr/>
        </p:nvCxnSpPr>
        <p:spPr>
          <a:xfrm flipV="1">
            <a:off x="8524463" y="4032785"/>
            <a:ext cx="284898" cy="289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Connector: Elbow 287">
            <a:extLst>
              <a:ext uri="{FF2B5EF4-FFF2-40B4-BE49-F238E27FC236}">
                <a16:creationId xmlns:a16="http://schemas.microsoft.com/office/drawing/2014/main" id="{A286418F-612D-4804-A5E6-CDCED6D3093D}"/>
              </a:ext>
            </a:extLst>
          </p:cNvPr>
          <p:cNvCxnSpPr>
            <a:cxnSpLocks/>
            <a:stCxn id="230" idx="3"/>
            <a:endCxn id="232" idx="1"/>
          </p:cNvCxnSpPr>
          <p:nvPr/>
        </p:nvCxnSpPr>
        <p:spPr>
          <a:xfrm flipV="1">
            <a:off x="8511211" y="4966317"/>
            <a:ext cx="298150" cy="735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6" name="Connector: Elbow 295">
            <a:extLst>
              <a:ext uri="{FF2B5EF4-FFF2-40B4-BE49-F238E27FC236}">
                <a16:creationId xmlns:a16="http://schemas.microsoft.com/office/drawing/2014/main" id="{120B55AE-229D-433A-A031-A2FE284B3C1E}"/>
              </a:ext>
            </a:extLst>
          </p:cNvPr>
          <p:cNvCxnSpPr>
            <a:cxnSpLocks/>
            <a:stCxn id="238" idx="3"/>
            <a:endCxn id="243" idx="1"/>
          </p:cNvCxnSpPr>
          <p:nvPr/>
        </p:nvCxnSpPr>
        <p:spPr>
          <a:xfrm>
            <a:off x="8524463" y="5801836"/>
            <a:ext cx="284898" cy="367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Connector: Elbow 301">
            <a:extLst>
              <a:ext uri="{FF2B5EF4-FFF2-40B4-BE49-F238E27FC236}">
                <a16:creationId xmlns:a16="http://schemas.microsoft.com/office/drawing/2014/main" id="{F23D6AA2-977A-4323-B2E2-62EB1213D2E5}"/>
              </a:ext>
            </a:extLst>
          </p:cNvPr>
          <p:cNvCxnSpPr>
            <a:cxnSpLocks/>
            <a:stCxn id="13" idx="3"/>
            <a:endCxn id="249" idx="1"/>
          </p:cNvCxnSpPr>
          <p:nvPr/>
        </p:nvCxnSpPr>
        <p:spPr>
          <a:xfrm flipV="1">
            <a:off x="6615186" y="1642658"/>
            <a:ext cx="404600" cy="54600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Connector: Elbow 304">
            <a:extLst>
              <a:ext uri="{FF2B5EF4-FFF2-40B4-BE49-F238E27FC236}">
                <a16:creationId xmlns:a16="http://schemas.microsoft.com/office/drawing/2014/main" id="{8C00641B-1714-4CEB-8E88-98876AC213AB}"/>
              </a:ext>
            </a:extLst>
          </p:cNvPr>
          <p:cNvCxnSpPr>
            <a:cxnSpLocks/>
            <a:stCxn id="13" idx="3"/>
            <a:endCxn id="246" idx="1"/>
          </p:cNvCxnSpPr>
          <p:nvPr/>
        </p:nvCxnSpPr>
        <p:spPr>
          <a:xfrm>
            <a:off x="6615186" y="2188661"/>
            <a:ext cx="407137" cy="70428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Connector: Elbow 307">
            <a:extLst>
              <a:ext uri="{FF2B5EF4-FFF2-40B4-BE49-F238E27FC236}">
                <a16:creationId xmlns:a16="http://schemas.microsoft.com/office/drawing/2014/main" id="{9F4B954D-4C54-4A35-9F3D-32D1DC77A268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 flipV="1">
            <a:off x="2520618" y="2631444"/>
            <a:ext cx="486257" cy="124022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Connector: Elbow 310">
            <a:extLst>
              <a:ext uri="{FF2B5EF4-FFF2-40B4-BE49-F238E27FC236}">
                <a16:creationId xmlns:a16="http://schemas.microsoft.com/office/drawing/2014/main" id="{811D267A-0697-4F60-8D41-8CF2E353C73C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2520618" y="3871670"/>
            <a:ext cx="486257" cy="1422318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70991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BA0A24-3422-4FC3-A2EA-9C02297D1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888" y="86635"/>
            <a:ext cx="11621212" cy="658252"/>
          </a:xfrm>
        </p:spPr>
        <p:txBody>
          <a:bodyPr/>
          <a:lstStyle/>
          <a:p>
            <a:r>
              <a:rPr lang="en-US" dirty="0"/>
              <a:t>Issue Tre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1858DB-2FEE-4109-BA10-131DF97B75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888" y="592561"/>
            <a:ext cx="11487034" cy="6042044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6" name="Text Box 3">
            <a:extLst>
              <a:ext uri="{FF2B5EF4-FFF2-40B4-BE49-F238E27FC236}">
                <a16:creationId xmlns:a16="http://schemas.microsoft.com/office/drawing/2014/main" id="{392BEFE4-7FFB-4153-A721-00E72C11D4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0657" y="3453632"/>
            <a:ext cx="1519961" cy="8360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IN" sz="1176" dirty="0">
                <a:solidFill>
                  <a:prstClr val="black"/>
                </a:solidFill>
                <a:latin typeface="Arial"/>
                <a:ea typeface="MS PGothic"/>
              </a:rPr>
              <a:t>Improve Collection Strategies</a:t>
            </a:r>
            <a:r>
              <a:rPr lang="en-US" sz="1176" dirty="0">
                <a:solidFill>
                  <a:prstClr val="black"/>
                </a:solidFill>
                <a:latin typeface="Arial"/>
                <a:ea typeface="MS PGothic"/>
              </a:rPr>
              <a:t>?</a:t>
            </a:r>
          </a:p>
        </p:txBody>
      </p:sp>
      <p:sp>
        <p:nvSpPr>
          <p:cNvPr id="8" name="Text Box 3">
            <a:extLst>
              <a:ext uri="{FF2B5EF4-FFF2-40B4-BE49-F238E27FC236}">
                <a16:creationId xmlns:a16="http://schemas.microsoft.com/office/drawing/2014/main" id="{02F2F836-DC7D-4454-8D7E-A7C20FB6AB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9253" y="1312466"/>
            <a:ext cx="1517708" cy="6237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  <a:ea typeface="MS PGothic"/>
              </a:rPr>
              <a:t>Improve Customer Communications</a:t>
            </a:r>
            <a:endParaRPr lang="en-IN" sz="1176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" name="Text Box 3">
            <a:extLst>
              <a:ext uri="{FF2B5EF4-FFF2-40B4-BE49-F238E27FC236}">
                <a16:creationId xmlns:a16="http://schemas.microsoft.com/office/drawing/2014/main" id="{D01D445D-535C-47A9-9FD2-1B7DF38C52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4196" y="4732775"/>
            <a:ext cx="1504505" cy="7418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  <a:ea typeface="MS PGothic"/>
              </a:rPr>
              <a:t>Determine which accounts are at risk of going into default</a:t>
            </a:r>
          </a:p>
        </p:txBody>
      </p:sp>
      <p:sp>
        <p:nvSpPr>
          <p:cNvPr id="13" name="Text Box 3">
            <a:extLst>
              <a:ext uri="{FF2B5EF4-FFF2-40B4-BE49-F238E27FC236}">
                <a16:creationId xmlns:a16="http://schemas.microsoft.com/office/drawing/2014/main" id="{F7D1676F-6080-4323-B2C1-02A0ACB106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9292" y="1000570"/>
            <a:ext cx="1519961" cy="6237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IN" sz="1176" dirty="0">
                <a:solidFill>
                  <a:prstClr val="black"/>
                </a:solidFill>
                <a:latin typeface="Arial"/>
                <a:ea typeface="MS PGothic"/>
              </a:rPr>
              <a:t>Improve Invoicing/Billing Process </a:t>
            </a:r>
            <a:endParaRPr lang="en-IN" sz="1176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Oval 24">
            <a:extLst>
              <a:ext uri="{FF2B5EF4-FFF2-40B4-BE49-F238E27FC236}">
                <a16:creationId xmlns:a16="http://schemas.microsoft.com/office/drawing/2014/main" id="{F504E54E-BF08-4F35-BAF9-ED87EB4BF3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195" y="3117741"/>
            <a:ext cx="311259" cy="311259"/>
          </a:xfrm>
          <a:prstGeom prst="ellipse">
            <a:avLst/>
          </a:prstGeom>
          <a:solidFill>
            <a:srgbClr val="FFFF00"/>
          </a:solidFill>
          <a:ln w="12700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50000"/>
              </a:spcBef>
            </a:pPr>
            <a:r>
              <a:rPr lang="en-GB" sz="980" b="1" dirty="0">
                <a:solidFill>
                  <a:srgbClr val="000000"/>
                </a:solidFill>
                <a:latin typeface="Arial"/>
              </a:rPr>
              <a:t>B1</a:t>
            </a:r>
          </a:p>
        </p:txBody>
      </p:sp>
      <p:sp>
        <p:nvSpPr>
          <p:cNvPr id="225" name="Text Box 3">
            <a:extLst>
              <a:ext uri="{FF2B5EF4-FFF2-40B4-BE49-F238E27FC236}">
                <a16:creationId xmlns:a16="http://schemas.microsoft.com/office/drawing/2014/main" id="{4195B693-923A-4CE0-B89D-6546D5D849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9292" y="3353034"/>
            <a:ext cx="1519961" cy="6237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IN" sz="1176" dirty="0">
                <a:solidFill>
                  <a:prstClr val="black"/>
                </a:solidFill>
                <a:latin typeface="Arial"/>
                <a:ea typeface="MS PGothic"/>
              </a:rPr>
              <a:t>Improve payment Process</a:t>
            </a:r>
          </a:p>
        </p:txBody>
      </p:sp>
      <p:sp>
        <p:nvSpPr>
          <p:cNvPr id="230" name="Text Box 3">
            <a:extLst>
              <a:ext uri="{FF2B5EF4-FFF2-40B4-BE49-F238E27FC236}">
                <a16:creationId xmlns:a16="http://schemas.microsoft.com/office/drawing/2014/main" id="{E00A991A-CD7C-40E1-9925-8E46CE326E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9292" y="5399041"/>
            <a:ext cx="1519961" cy="9751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  <a:ea typeface="MS PGothic"/>
              </a:rPr>
              <a:t>Segregate customers who have receivable overdue past aging schedule, termed as bad debt</a:t>
            </a:r>
          </a:p>
        </p:txBody>
      </p:sp>
      <p:sp>
        <p:nvSpPr>
          <p:cNvPr id="246" name="Text Box 3">
            <a:extLst>
              <a:ext uri="{FF2B5EF4-FFF2-40B4-BE49-F238E27FC236}">
                <a16:creationId xmlns:a16="http://schemas.microsoft.com/office/drawing/2014/main" id="{55CFBBF5-63F9-4C9A-B327-37BC4AC387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69729" y="1413628"/>
            <a:ext cx="1504505" cy="9693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  <a:ea typeface="MS PGothic"/>
              </a:rPr>
              <a:t>Set the Checkpoints to send  out reminders to customers using Aging report</a:t>
            </a:r>
          </a:p>
        </p:txBody>
      </p:sp>
      <p:sp>
        <p:nvSpPr>
          <p:cNvPr id="247" name="Text Box 3">
            <a:extLst>
              <a:ext uri="{FF2B5EF4-FFF2-40B4-BE49-F238E27FC236}">
                <a16:creationId xmlns:a16="http://schemas.microsoft.com/office/drawing/2014/main" id="{96580AE3-2DD1-472C-BFA2-33B0616C1F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80152" y="1474353"/>
            <a:ext cx="1853992" cy="70428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>
            <a:defPPr>
              <a:defRPr lang="en-US"/>
            </a:defPPr>
            <a:lvl1pPr algn="ctr">
              <a:defRPr sz="1176">
                <a:solidFill>
                  <a:schemeClr val="bg1"/>
                </a:solidFill>
                <a:latin typeface="Arial"/>
                <a:ea typeface="MS PGothic"/>
              </a:defRPr>
            </a:lvl1pPr>
          </a:lstStyle>
          <a:p>
            <a:r>
              <a:rPr lang="en-US" dirty="0"/>
              <a:t>Proactive in Invoicing/ Advance follow up with client financial team</a:t>
            </a:r>
          </a:p>
        </p:txBody>
      </p:sp>
      <p:sp>
        <p:nvSpPr>
          <p:cNvPr id="249" name="Text Box 3">
            <a:extLst>
              <a:ext uri="{FF2B5EF4-FFF2-40B4-BE49-F238E27FC236}">
                <a16:creationId xmlns:a16="http://schemas.microsoft.com/office/drawing/2014/main" id="{0477E657-7D8E-4581-80DF-50FD29F242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69729" y="691198"/>
            <a:ext cx="1504505" cy="6237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  <a:ea typeface="MS PGothic"/>
              </a:rPr>
              <a:t>Invoices in a timely manner</a:t>
            </a:r>
          </a:p>
        </p:txBody>
      </p:sp>
      <p:sp>
        <p:nvSpPr>
          <p:cNvPr id="251" name="Text Box 3">
            <a:extLst>
              <a:ext uri="{FF2B5EF4-FFF2-40B4-BE49-F238E27FC236}">
                <a16:creationId xmlns:a16="http://schemas.microsoft.com/office/drawing/2014/main" id="{29FDBD1F-3CF5-4D75-968A-422D2BEC0E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80153" y="693409"/>
            <a:ext cx="1853992" cy="62379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schemeClr val="bg1"/>
                </a:solidFill>
                <a:latin typeface="Arial"/>
                <a:ea typeface="MS PGothic"/>
              </a:rPr>
              <a:t>Automate the Invoice preparation process to avoid human error</a:t>
            </a:r>
          </a:p>
        </p:txBody>
      </p:sp>
      <p:cxnSp>
        <p:nvCxnSpPr>
          <p:cNvPr id="253" name="Connector: Elbow 252">
            <a:extLst>
              <a:ext uri="{FF2B5EF4-FFF2-40B4-BE49-F238E27FC236}">
                <a16:creationId xmlns:a16="http://schemas.microsoft.com/office/drawing/2014/main" id="{05CA919B-FA66-4F07-8A32-631D5D4E61B2}"/>
              </a:ext>
            </a:extLst>
          </p:cNvPr>
          <p:cNvCxnSpPr>
            <a:cxnSpLocks/>
            <a:stCxn id="8" idx="3"/>
            <a:endCxn id="225" idx="1"/>
          </p:cNvCxnSpPr>
          <p:nvPr/>
        </p:nvCxnSpPr>
        <p:spPr>
          <a:xfrm>
            <a:off x="4576961" y="1624362"/>
            <a:ext cx="512331" cy="2040568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Connector: Elbow 255">
            <a:extLst>
              <a:ext uri="{FF2B5EF4-FFF2-40B4-BE49-F238E27FC236}">
                <a16:creationId xmlns:a16="http://schemas.microsoft.com/office/drawing/2014/main" id="{B7D75D03-FB78-4969-95DB-D690496EB1B7}"/>
              </a:ext>
            </a:extLst>
          </p:cNvPr>
          <p:cNvCxnSpPr>
            <a:cxnSpLocks/>
            <a:stCxn id="8" idx="3"/>
            <a:endCxn id="13" idx="1"/>
          </p:cNvCxnSpPr>
          <p:nvPr/>
        </p:nvCxnSpPr>
        <p:spPr>
          <a:xfrm flipV="1">
            <a:off x="4576961" y="1312466"/>
            <a:ext cx="512331" cy="31189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Connector: Elbow 272">
            <a:extLst>
              <a:ext uri="{FF2B5EF4-FFF2-40B4-BE49-F238E27FC236}">
                <a16:creationId xmlns:a16="http://schemas.microsoft.com/office/drawing/2014/main" id="{36BC19E4-8D17-4913-8953-C92D2CD90F69}"/>
              </a:ext>
            </a:extLst>
          </p:cNvPr>
          <p:cNvCxnSpPr>
            <a:cxnSpLocks/>
            <a:stCxn id="246" idx="3"/>
          </p:cNvCxnSpPr>
          <p:nvPr/>
        </p:nvCxnSpPr>
        <p:spPr>
          <a:xfrm flipV="1">
            <a:off x="8474234" y="1772415"/>
            <a:ext cx="321875" cy="12587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Connector: Elbow 275">
            <a:extLst>
              <a:ext uri="{FF2B5EF4-FFF2-40B4-BE49-F238E27FC236}">
                <a16:creationId xmlns:a16="http://schemas.microsoft.com/office/drawing/2014/main" id="{50AF497F-87F4-4413-B733-FAC297C96945}"/>
              </a:ext>
            </a:extLst>
          </p:cNvPr>
          <p:cNvCxnSpPr>
            <a:cxnSpLocks/>
            <a:stCxn id="249" idx="3"/>
            <a:endCxn id="251" idx="1"/>
          </p:cNvCxnSpPr>
          <p:nvPr/>
        </p:nvCxnSpPr>
        <p:spPr>
          <a:xfrm>
            <a:off x="8474234" y="1003094"/>
            <a:ext cx="305919" cy="221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Connector: Elbow 307">
            <a:extLst>
              <a:ext uri="{FF2B5EF4-FFF2-40B4-BE49-F238E27FC236}">
                <a16:creationId xmlns:a16="http://schemas.microsoft.com/office/drawing/2014/main" id="{9F4B954D-4C54-4A35-9F3D-32D1DC77A268}"/>
              </a:ext>
            </a:extLst>
          </p:cNvPr>
          <p:cNvCxnSpPr>
            <a:cxnSpLocks/>
            <a:stCxn id="6" idx="3"/>
            <a:endCxn id="8" idx="1"/>
          </p:cNvCxnSpPr>
          <p:nvPr/>
        </p:nvCxnSpPr>
        <p:spPr>
          <a:xfrm flipV="1">
            <a:off x="2520618" y="1624362"/>
            <a:ext cx="538635" cy="2247308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Connector: Elbow 310">
            <a:extLst>
              <a:ext uri="{FF2B5EF4-FFF2-40B4-BE49-F238E27FC236}">
                <a16:creationId xmlns:a16="http://schemas.microsoft.com/office/drawing/2014/main" id="{811D267A-0697-4F60-8D41-8CF2E353C73C}"/>
              </a:ext>
            </a:extLst>
          </p:cNvPr>
          <p:cNvCxnSpPr>
            <a:cxnSpLocks/>
            <a:stCxn id="6" idx="3"/>
            <a:endCxn id="10" idx="1"/>
          </p:cNvCxnSpPr>
          <p:nvPr/>
        </p:nvCxnSpPr>
        <p:spPr>
          <a:xfrm>
            <a:off x="2520618" y="3871670"/>
            <a:ext cx="523578" cy="123201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3">
            <a:extLst>
              <a:ext uri="{FF2B5EF4-FFF2-40B4-BE49-F238E27FC236}">
                <a16:creationId xmlns:a16="http://schemas.microsoft.com/office/drawing/2014/main" id="{F8B8F7BD-E074-4E26-89F7-8D9022A0A0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69729" y="3179560"/>
            <a:ext cx="1504505" cy="6237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</a:rPr>
              <a:t>Help customer with tax liabilities</a:t>
            </a:r>
            <a:endParaRPr lang="en-IN" sz="1176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0" name="Text Box 3">
            <a:extLst>
              <a:ext uri="{FF2B5EF4-FFF2-40B4-BE49-F238E27FC236}">
                <a16:creationId xmlns:a16="http://schemas.microsoft.com/office/drawing/2014/main" id="{6F72F22F-C9C1-474C-B9E1-4A03DE8641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80152" y="2412589"/>
            <a:ext cx="1853994" cy="69219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>
            <a:defPPr>
              <a:defRPr lang="en-US"/>
            </a:defPPr>
            <a:lvl1pPr algn="ctr">
              <a:defRPr sz="1176">
                <a:solidFill>
                  <a:schemeClr val="bg1"/>
                </a:solidFill>
                <a:latin typeface="Arial"/>
                <a:ea typeface="MS PGothic"/>
              </a:defRPr>
            </a:lvl1pPr>
          </a:lstStyle>
          <a:p>
            <a:r>
              <a:rPr lang="en-US" dirty="0"/>
              <a:t>Plan regular audits of Invoice Process</a:t>
            </a:r>
          </a:p>
        </p:txBody>
      </p:sp>
      <p:sp>
        <p:nvSpPr>
          <p:cNvPr id="94" name="Text Box 3">
            <a:extLst>
              <a:ext uri="{FF2B5EF4-FFF2-40B4-BE49-F238E27FC236}">
                <a16:creationId xmlns:a16="http://schemas.microsoft.com/office/drawing/2014/main" id="{BB37A9B6-1645-4A81-9D21-7B99F3E931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69729" y="3889126"/>
            <a:ext cx="1504505" cy="5329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</a:rPr>
              <a:t> Provided Assistance  to customers having payment issues</a:t>
            </a:r>
          </a:p>
        </p:txBody>
      </p:sp>
      <p:sp>
        <p:nvSpPr>
          <p:cNvPr id="102" name="Text Box 3">
            <a:extLst>
              <a:ext uri="{FF2B5EF4-FFF2-40B4-BE49-F238E27FC236}">
                <a16:creationId xmlns:a16="http://schemas.microsoft.com/office/drawing/2014/main" id="{3813ED50-1AEF-4ACC-982C-72235CB5D7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69729" y="4495714"/>
            <a:ext cx="1504505" cy="84558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</a:rPr>
              <a:t>Provide staff with appropriate training on how to deal with late paying client  </a:t>
            </a:r>
          </a:p>
        </p:txBody>
      </p:sp>
      <p:sp>
        <p:nvSpPr>
          <p:cNvPr id="103" name="Text Box 3">
            <a:extLst>
              <a:ext uri="{FF2B5EF4-FFF2-40B4-BE49-F238E27FC236}">
                <a16:creationId xmlns:a16="http://schemas.microsoft.com/office/drawing/2014/main" id="{39E5B314-16F7-45C4-8F4C-0975770F4C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69729" y="5427056"/>
            <a:ext cx="1504505" cy="6579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>
            <a:defPPr>
              <a:defRPr lang="en-US"/>
            </a:defPPr>
            <a:lvl1pPr algn="ctr">
              <a:defRPr sz="1176">
                <a:solidFill>
                  <a:prstClr val="black"/>
                </a:solidFill>
                <a:latin typeface="Arial"/>
              </a:defRPr>
            </a:lvl1pPr>
          </a:lstStyle>
          <a:p>
            <a:r>
              <a:rPr lang="en-US" dirty="0"/>
              <a:t>Hiring Agent to for training/Speed up the Collection process</a:t>
            </a:r>
          </a:p>
        </p:txBody>
      </p:sp>
      <p:sp>
        <p:nvSpPr>
          <p:cNvPr id="106" name="Text Box 3">
            <a:extLst>
              <a:ext uri="{FF2B5EF4-FFF2-40B4-BE49-F238E27FC236}">
                <a16:creationId xmlns:a16="http://schemas.microsoft.com/office/drawing/2014/main" id="{3E3CCA2F-4064-4B00-BB11-AD7B65E830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80152" y="5072106"/>
            <a:ext cx="1853992" cy="62379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schemeClr val="bg1"/>
                </a:solidFill>
                <a:latin typeface="Arial"/>
                <a:ea typeface="MS PGothic"/>
              </a:rPr>
              <a:t>Offering Past-Due Clients a Payment Plan</a:t>
            </a:r>
          </a:p>
        </p:txBody>
      </p:sp>
      <p:sp>
        <p:nvSpPr>
          <p:cNvPr id="107" name="Text Box 3">
            <a:extLst>
              <a:ext uri="{FF2B5EF4-FFF2-40B4-BE49-F238E27FC236}">
                <a16:creationId xmlns:a16="http://schemas.microsoft.com/office/drawing/2014/main" id="{E333E893-0784-4C67-818D-E7D2B70B46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80152" y="5878189"/>
            <a:ext cx="1853992" cy="62379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schemeClr val="bg1"/>
                </a:solidFill>
                <a:latin typeface="Arial"/>
                <a:ea typeface="MS PGothic"/>
              </a:rPr>
              <a:t>Take some legal action/Firmer Communications</a:t>
            </a:r>
          </a:p>
        </p:txBody>
      </p:sp>
      <p:sp>
        <p:nvSpPr>
          <p:cNvPr id="108" name="Text Box 3">
            <a:extLst>
              <a:ext uri="{FF2B5EF4-FFF2-40B4-BE49-F238E27FC236}">
                <a16:creationId xmlns:a16="http://schemas.microsoft.com/office/drawing/2014/main" id="{3E4D39C1-00D9-4BD9-B724-38C3509058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80151" y="4330951"/>
            <a:ext cx="1853993" cy="60403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schemeClr val="bg1"/>
                </a:solidFill>
                <a:latin typeface="Arial"/>
                <a:ea typeface="MS PGothic"/>
              </a:rPr>
              <a:t>Alert customers of late payment fee</a:t>
            </a:r>
          </a:p>
        </p:txBody>
      </p:sp>
      <p:cxnSp>
        <p:nvCxnSpPr>
          <p:cNvPr id="272" name="Connector: Elbow 271">
            <a:extLst>
              <a:ext uri="{FF2B5EF4-FFF2-40B4-BE49-F238E27FC236}">
                <a16:creationId xmlns:a16="http://schemas.microsoft.com/office/drawing/2014/main" id="{C6D7241C-C49C-4917-ABE0-CE8CAC619C23}"/>
              </a:ext>
            </a:extLst>
          </p:cNvPr>
          <p:cNvCxnSpPr>
            <a:cxnSpLocks/>
            <a:stCxn id="13" idx="3"/>
            <a:endCxn id="249" idx="1"/>
          </p:cNvCxnSpPr>
          <p:nvPr/>
        </p:nvCxnSpPr>
        <p:spPr>
          <a:xfrm flipV="1">
            <a:off x="6609253" y="1003094"/>
            <a:ext cx="360476" cy="309372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Connector: Elbow 274">
            <a:extLst>
              <a:ext uri="{FF2B5EF4-FFF2-40B4-BE49-F238E27FC236}">
                <a16:creationId xmlns:a16="http://schemas.microsoft.com/office/drawing/2014/main" id="{AE2734E3-FC80-4843-92BE-89E187B04D3B}"/>
              </a:ext>
            </a:extLst>
          </p:cNvPr>
          <p:cNvCxnSpPr>
            <a:cxnSpLocks/>
            <a:stCxn id="204" idx="3"/>
            <a:endCxn id="80" idx="1"/>
          </p:cNvCxnSpPr>
          <p:nvPr/>
        </p:nvCxnSpPr>
        <p:spPr>
          <a:xfrm flipV="1">
            <a:off x="8474234" y="2758688"/>
            <a:ext cx="305918" cy="393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Connector: Elbow 277">
            <a:extLst>
              <a:ext uri="{FF2B5EF4-FFF2-40B4-BE49-F238E27FC236}">
                <a16:creationId xmlns:a16="http://schemas.microsoft.com/office/drawing/2014/main" id="{60FF472C-0525-4AD2-9325-92D22FAEF005}"/>
              </a:ext>
            </a:extLst>
          </p:cNvPr>
          <p:cNvCxnSpPr>
            <a:cxnSpLocks/>
            <a:stCxn id="13" idx="3"/>
            <a:endCxn id="246" idx="1"/>
          </p:cNvCxnSpPr>
          <p:nvPr/>
        </p:nvCxnSpPr>
        <p:spPr>
          <a:xfrm>
            <a:off x="6609253" y="1312466"/>
            <a:ext cx="360476" cy="58582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Connector: Elbow 281">
            <a:extLst>
              <a:ext uri="{FF2B5EF4-FFF2-40B4-BE49-F238E27FC236}">
                <a16:creationId xmlns:a16="http://schemas.microsoft.com/office/drawing/2014/main" id="{23A524CC-D940-4004-AA31-93B2F2C0DEEE}"/>
              </a:ext>
            </a:extLst>
          </p:cNvPr>
          <p:cNvCxnSpPr>
            <a:cxnSpLocks/>
            <a:stCxn id="10" idx="3"/>
            <a:endCxn id="230" idx="1"/>
          </p:cNvCxnSpPr>
          <p:nvPr/>
        </p:nvCxnSpPr>
        <p:spPr>
          <a:xfrm>
            <a:off x="4548701" y="5103686"/>
            <a:ext cx="540591" cy="78291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A5885ABB-3316-4262-831C-F1061F0728AB}"/>
              </a:ext>
            </a:extLst>
          </p:cNvPr>
          <p:cNvCxnSpPr>
            <a:cxnSpLocks/>
            <a:stCxn id="125" idx="1"/>
            <a:endCxn id="10" idx="3"/>
          </p:cNvCxnSpPr>
          <p:nvPr/>
        </p:nvCxnSpPr>
        <p:spPr>
          <a:xfrm rot="10800000" flipV="1">
            <a:off x="4548702" y="4921742"/>
            <a:ext cx="540591" cy="18194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 Box 3">
            <a:extLst>
              <a:ext uri="{FF2B5EF4-FFF2-40B4-BE49-F238E27FC236}">
                <a16:creationId xmlns:a16="http://schemas.microsoft.com/office/drawing/2014/main" id="{58AEE2F4-CA95-4248-A724-5F95BE96FA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9292" y="4609846"/>
            <a:ext cx="1519961" cy="6237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  <a:ea typeface="MS PGothic"/>
              </a:rPr>
              <a:t>Set Recovery process in motion for overdue accounts </a:t>
            </a: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5F6373A3-0280-48E3-A4E2-86A9F85ADFDB}"/>
              </a:ext>
            </a:extLst>
          </p:cNvPr>
          <p:cNvCxnSpPr>
            <a:cxnSpLocks/>
            <a:stCxn id="225" idx="3"/>
            <a:endCxn id="36" idx="1"/>
          </p:cNvCxnSpPr>
          <p:nvPr/>
        </p:nvCxnSpPr>
        <p:spPr>
          <a:xfrm flipV="1">
            <a:off x="6609253" y="3491456"/>
            <a:ext cx="360476" cy="173474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0B5814E9-5645-4CB9-86E9-026BC1721665}"/>
              </a:ext>
            </a:extLst>
          </p:cNvPr>
          <p:cNvCxnSpPr>
            <a:cxnSpLocks/>
            <a:stCxn id="225" idx="3"/>
            <a:endCxn id="94" idx="1"/>
          </p:cNvCxnSpPr>
          <p:nvPr/>
        </p:nvCxnSpPr>
        <p:spPr>
          <a:xfrm>
            <a:off x="6609253" y="3664930"/>
            <a:ext cx="360476" cy="49069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9DA298FE-0602-40E7-973E-0B5AFD8D1C4E}"/>
              </a:ext>
            </a:extLst>
          </p:cNvPr>
          <p:cNvCxnSpPr>
            <a:cxnSpLocks/>
            <a:stCxn id="125" idx="3"/>
            <a:endCxn id="102" idx="1"/>
          </p:cNvCxnSpPr>
          <p:nvPr/>
        </p:nvCxnSpPr>
        <p:spPr>
          <a:xfrm flipV="1">
            <a:off x="6609253" y="4918506"/>
            <a:ext cx="360476" cy="323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68A3D5BC-9DD9-4A98-BDB3-467C59A6B07A}"/>
              </a:ext>
            </a:extLst>
          </p:cNvPr>
          <p:cNvCxnSpPr>
            <a:cxnSpLocks/>
            <a:stCxn id="230" idx="3"/>
            <a:endCxn id="107" idx="1"/>
          </p:cNvCxnSpPr>
          <p:nvPr/>
        </p:nvCxnSpPr>
        <p:spPr>
          <a:xfrm>
            <a:off x="6609253" y="5886600"/>
            <a:ext cx="2170899" cy="303485"/>
          </a:xfrm>
          <a:prstGeom prst="bentConnector3">
            <a:avLst>
              <a:gd name="adj1" fmla="val 849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Connector: Elbow 296">
            <a:extLst>
              <a:ext uri="{FF2B5EF4-FFF2-40B4-BE49-F238E27FC236}">
                <a16:creationId xmlns:a16="http://schemas.microsoft.com/office/drawing/2014/main" id="{0C857ACB-EB7E-4CBD-AB72-9425ABDF9218}"/>
              </a:ext>
            </a:extLst>
          </p:cNvPr>
          <p:cNvCxnSpPr>
            <a:cxnSpLocks/>
            <a:stCxn id="102" idx="3"/>
            <a:endCxn id="108" idx="1"/>
          </p:cNvCxnSpPr>
          <p:nvPr/>
        </p:nvCxnSpPr>
        <p:spPr>
          <a:xfrm flipV="1">
            <a:off x="8474234" y="4632968"/>
            <a:ext cx="305917" cy="285538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Connector: Elbow 300">
            <a:extLst>
              <a:ext uri="{FF2B5EF4-FFF2-40B4-BE49-F238E27FC236}">
                <a16:creationId xmlns:a16="http://schemas.microsoft.com/office/drawing/2014/main" id="{BCB64651-756E-4178-AEDF-04909976D6A7}"/>
              </a:ext>
            </a:extLst>
          </p:cNvPr>
          <p:cNvCxnSpPr>
            <a:cxnSpLocks/>
            <a:stCxn id="102" idx="3"/>
            <a:endCxn id="106" idx="1"/>
          </p:cNvCxnSpPr>
          <p:nvPr/>
        </p:nvCxnSpPr>
        <p:spPr>
          <a:xfrm>
            <a:off x="8474234" y="4918506"/>
            <a:ext cx="305918" cy="46549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Text Box 3">
            <a:extLst>
              <a:ext uri="{FF2B5EF4-FFF2-40B4-BE49-F238E27FC236}">
                <a16:creationId xmlns:a16="http://schemas.microsoft.com/office/drawing/2014/main" id="{F08BCA84-D89D-4F19-AF33-796A2D2C34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69729" y="2486195"/>
            <a:ext cx="1504505" cy="55285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/>
          <a:p>
            <a:pPr algn="ctr"/>
            <a:r>
              <a:rPr lang="en-US" sz="1176" dirty="0">
                <a:solidFill>
                  <a:prstClr val="black"/>
                </a:solidFill>
                <a:latin typeface="Arial"/>
              </a:rPr>
              <a:t>Insure error free Invoice</a:t>
            </a:r>
            <a:r>
              <a:rPr lang="en-IN" sz="1176" dirty="0">
                <a:solidFill>
                  <a:prstClr val="black"/>
                </a:solidFill>
                <a:latin typeface="Arial"/>
                <a:ea typeface="MS PGothic"/>
              </a:rPr>
              <a:t> </a:t>
            </a:r>
            <a:endParaRPr lang="en-IN" sz="1176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320" name="Connector: Elbow 319">
            <a:extLst>
              <a:ext uri="{FF2B5EF4-FFF2-40B4-BE49-F238E27FC236}">
                <a16:creationId xmlns:a16="http://schemas.microsoft.com/office/drawing/2014/main" id="{B22E0141-EECD-49C2-8AE1-5B07206FB952}"/>
              </a:ext>
            </a:extLst>
          </p:cNvPr>
          <p:cNvCxnSpPr>
            <a:cxnSpLocks/>
            <a:stCxn id="125" idx="3"/>
            <a:endCxn id="103" idx="1"/>
          </p:cNvCxnSpPr>
          <p:nvPr/>
        </p:nvCxnSpPr>
        <p:spPr>
          <a:xfrm>
            <a:off x="6609253" y="4921742"/>
            <a:ext cx="360476" cy="83430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5" name="Text Box 3">
            <a:extLst>
              <a:ext uri="{FF2B5EF4-FFF2-40B4-BE49-F238E27FC236}">
                <a16:creationId xmlns:a16="http://schemas.microsoft.com/office/drawing/2014/main" id="{EE1653DF-4E0A-4365-88A8-C1BEA2E388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80152" y="3289371"/>
            <a:ext cx="1857298" cy="60403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35857" tIns="35857" rIns="35857" bIns="35857" anchor="ctr"/>
          <a:lstStyle>
            <a:defPPr>
              <a:defRPr lang="en-US"/>
            </a:defPPr>
            <a:lvl1pPr algn="ctr">
              <a:defRPr sz="1176">
                <a:solidFill>
                  <a:schemeClr val="bg1"/>
                </a:solidFill>
                <a:latin typeface="Arial"/>
                <a:ea typeface="MS PGothic"/>
              </a:defRPr>
            </a:lvl1pPr>
          </a:lstStyle>
          <a:p>
            <a:r>
              <a:rPr lang="en-US" dirty="0"/>
              <a:t>Provide more payment options</a:t>
            </a:r>
          </a:p>
        </p:txBody>
      </p:sp>
      <p:cxnSp>
        <p:nvCxnSpPr>
          <p:cNvPr id="337" name="Connector: Elbow 336">
            <a:extLst>
              <a:ext uri="{FF2B5EF4-FFF2-40B4-BE49-F238E27FC236}">
                <a16:creationId xmlns:a16="http://schemas.microsoft.com/office/drawing/2014/main" id="{16266370-2DC0-4A53-9364-0BE848E27D3C}"/>
              </a:ext>
            </a:extLst>
          </p:cNvPr>
          <p:cNvCxnSpPr>
            <a:cxnSpLocks/>
            <a:stCxn id="36" idx="3"/>
            <a:endCxn id="335" idx="1"/>
          </p:cNvCxnSpPr>
          <p:nvPr/>
        </p:nvCxnSpPr>
        <p:spPr>
          <a:xfrm>
            <a:off x="8474234" y="3491456"/>
            <a:ext cx="305918" cy="9993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66484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0F9B96F-351D-4B3D-A91A-D1DE347760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8531" y="2743710"/>
            <a:ext cx="5379719" cy="1522981"/>
          </a:xfrm>
        </p:spPr>
        <p:txBody>
          <a:bodyPr/>
          <a:lstStyle/>
          <a:p>
            <a:r>
              <a:rPr lang="en-US" dirty="0"/>
              <a:t>Collections strategy</a:t>
            </a:r>
          </a:p>
        </p:txBody>
      </p:sp>
    </p:spTree>
    <p:extLst>
      <p:ext uri="{BB962C8B-B14F-4D97-AF65-F5344CB8AC3E}">
        <p14:creationId xmlns:p14="http://schemas.microsoft.com/office/powerpoint/2010/main" val="10318293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68107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01893-963B-4839-B713-454C034DD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– 3 | Collections strateg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40672B-C899-4D19-A289-B984C9611B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 algn="just">
              <a:lnSpc>
                <a:spcPct val="150000"/>
              </a:lnSpc>
              <a:buNone/>
            </a:pPr>
            <a:r>
              <a:rPr lang="en-US" sz="1600" dirty="0"/>
              <a:t>Client &amp; background</a:t>
            </a:r>
          </a:p>
          <a:p>
            <a:pPr marL="0" lvl="1" indent="0" algn="just">
              <a:lnSpc>
                <a:spcPct val="150000"/>
              </a:lnSpc>
              <a:buNone/>
            </a:pPr>
            <a:r>
              <a:rPr lang="en-US" sz="1600" dirty="0"/>
              <a:t>ABC bank has been experiencing high credit losses and wants to optimize it’s collection efforts to recover delinquent payments. The bank wants to build a framework for channelizing collection efforts before and after charge off’s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832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904F9-9FC4-4755-B22A-F18B4023A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ndustry Research</a:t>
            </a:r>
            <a:br>
              <a:rPr lang="en-US" b="1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D68D5E-738E-4562-909A-F3226D201C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DEFINITION of 'Delinquent’:</a:t>
            </a:r>
            <a:endParaRPr lang="en-US" dirty="0"/>
          </a:p>
          <a:p>
            <a:r>
              <a:rPr lang="en-US" dirty="0"/>
              <a:t>The term "delinquent" commonly refers to a situation where a borrower is late or overdue on a payment, such as income taxes, a mortgage, an automobile loan or a credit card account. Also refers to the failure to perform a duty or act in a manner expected of a person in a particular profession or situat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'Charge-Off’:</a:t>
            </a:r>
          </a:p>
          <a:p>
            <a:pPr marL="0" indent="0">
              <a:buNone/>
            </a:pPr>
            <a:r>
              <a:rPr lang="en-US" dirty="0"/>
              <a:t>A </a:t>
            </a:r>
            <a:r>
              <a:rPr lang="en-US" b="1" dirty="0"/>
              <a:t>charge-off</a:t>
            </a:r>
            <a:r>
              <a:rPr lang="en-US" dirty="0"/>
              <a:t> or </a:t>
            </a:r>
            <a:r>
              <a:rPr lang="en-US" b="1" dirty="0" err="1"/>
              <a:t>chargeoff</a:t>
            </a:r>
            <a:r>
              <a:rPr lang="en-US" dirty="0"/>
              <a:t> is the declaration by a creditor (usually a credit card account) that an amount of debt is unlikely to be collected. This occurs when a consumer becomes severely delinquent on a debt. Traditionally, creditors will make this declaration at the point of six months without payment.</a:t>
            </a:r>
            <a:endParaRPr lang="en-US" b="1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72490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270F73-5BC4-4745-81BB-024087786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888" y="159026"/>
            <a:ext cx="11621212" cy="530087"/>
          </a:xfrm>
        </p:spPr>
        <p:txBody>
          <a:bodyPr/>
          <a:lstStyle/>
          <a:p>
            <a:r>
              <a:rPr lang="en-US" dirty="0"/>
              <a:t>Bank’s bad loans Trends in India</a:t>
            </a:r>
            <a:br>
              <a:rPr lang="en-US" b="1" dirty="0"/>
            </a:br>
            <a:br>
              <a:rPr lang="en-US" sz="1600" b="1" dirty="0"/>
            </a:b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15AE17-085C-4A91-8F8A-BB92478728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539" y="1555730"/>
            <a:ext cx="5486398" cy="404165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FBD038E-1907-435A-9677-651C41EA50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4937" y="1503914"/>
            <a:ext cx="6403699" cy="387667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A7C0F9B-2604-4896-AB1C-AAA1E7059736}"/>
              </a:ext>
            </a:extLst>
          </p:cNvPr>
          <p:cNvSpPr/>
          <p:nvPr/>
        </p:nvSpPr>
        <p:spPr>
          <a:xfrm>
            <a:off x="7271235" y="5464863"/>
            <a:ext cx="43481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latin typeface="Roboto"/>
              </a:rPr>
              <a:t>PSBs with higher gross NPAs in </a:t>
            </a:r>
            <a:r>
              <a:rPr lang="en-US" b="1" dirty="0" err="1">
                <a:latin typeface="Roboto"/>
              </a:rPr>
              <a:t>Rs</a:t>
            </a:r>
            <a:r>
              <a:rPr lang="en-US" b="1" dirty="0">
                <a:latin typeface="Roboto"/>
              </a:rPr>
              <a:t> </a:t>
            </a:r>
            <a:r>
              <a:rPr lang="en-US" b="1" dirty="0" err="1">
                <a:latin typeface="Roboto"/>
              </a:rPr>
              <a:t>cr</a:t>
            </a:r>
            <a:endParaRPr lang="en-US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2CDD20-AB9A-4493-8810-0D7C565CC78C}"/>
              </a:ext>
            </a:extLst>
          </p:cNvPr>
          <p:cNvSpPr/>
          <p:nvPr/>
        </p:nvSpPr>
        <p:spPr>
          <a:xfrm>
            <a:off x="1613456" y="5531121"/>
            <a:ext cx="27730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latin typeface="Roboto"/>
              </a:rPr>
              <a:t>Gross NPAs in </a:t>
            </a:r>
            <a:r>
              <a:rPr lang="en-US" b="1" dirty="0" err="1">
                <a:latin typeface="Roboto"/>
              </a:rPr>
              <a:t>Rs</a:t>
            </a:r>
            <a:r>
              <a:rPr lang="en-US" b="1" dirty="0">
                <a:latin typeface="Roboto"/>
              </a:rPr>
              <a:t> </a:t>
            </a:r>
            <a:r>
              <a:rPr lang="en-US" b="1" dirty="0" err="1">
                <a:latin typeface="Roboto"/>
              </a:rPr>
              <a:t>cr</a:t>
            </a:r>
            <a:endParaRPr lang="en-US" b="1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DE24482-F300-4844-BC6B-CFBDAEA1838E}"/>
              </a:ext>
            </a:extLst>
          </p:cNvPr>
          <p:cNvSpPr txBox="1">
            <a:spLocks/>
          </p:cNvSpPr>
          <p:nvPr/>
        </p:nvSpPr>
        <p:spPr>
          <a:xfrm>
            <a:off x="227888" y="869538"/>
            <a:ext cx="11621212" cy="53008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600" dirty="0">
                <a:solidFill>
                  <a:schemeClr val="tx1">
                    <a:lumMod val="90000"/>
                    <a:lumOff val="10000"/>
                  </a:schemeClr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According to RBI report, bad loans as a percentage of total loans — of the Indian banking system could reach 12.2% by March 2019.</a:t>
            </a:r>
          </a:p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600" dirty="0">
                <a:solidFill>
                  <a:schemeClr val="tx1">
                    <a:lumMod val="90000"/>
                    <a:lumOff val="10000"/>
                  </a:schemeClr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For public sector banks (PSBs) gross NPA ratio may increase from 15.6% in March 2018 to 17.3% by March 2019.</a:t>
            </a:r>
          </a:p>
          <a:p>
            <a:br>
              <a:rPr lang="en-US" b="1" dirty="0"/>
            </a:br>
            <a:br>
              <a:rPr lang="en-US" sz="1600" b="1" dirty="0"/>
            </a:b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E37D1EE-FF46-442C-86BF-3FC19FCFF833}"/>
              </a:ext>
            </a:extLst>
          </p:cNvPr>
          <p:cNvSpPr txBox="1">
            <a:spLocks/>
          </p:cNvSpPr>
          <p:nvPr/>
        </p:nvSpPr>
        <p:spPr>
          <a:xfrm>
            <a:off x="227888" y="5753488"/>
            <a:ext cx="11621212" cy="53008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r>
              <a:rPr lang="en-US" sz="1200" dirty="0">
                <a:latin typeface="+mn-lt"/>
              </a:rPr>
              <a:t>Sourc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RBI financial stability report (FS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https://www.financialexpress.com/industry/rbi-sees-gross-npas-at-12-by-march/1221734/</a:t>
            </a:r>
            <a:br>
              <a:rPr lang="en-US" sz="1200" dirty="0">
                <a:latin typeface="+mn-lt"/>
              </a:rPr>
            </a:br>
            <a:br>
              <a:rPr lang="en-US" sz="1600" b="1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6780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6A1CE-311A-498F-AFC6-D94F3D45C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ole of Collec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34FBC8-2AE2-4F0E-8B4A-3AA8906F24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4250" y="1270345"/>
            <a:ext cx="4514850" cy="471487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2BDE15-C751-4BCE-A3AB-8BAE51AF62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1" y="1393135"/>
            <a:ext cx="6097656" cy="4705350"/>
          </a:xfrm>
        </p:spPr>
        <p:txBody>
          <a:bodyPr/>
          <a:lstStyle/>
          <a:p>
            <a:r>
              <a:rPr lang="en-US" dirty="0"/>
              <a:t>Final step in the lending cycle, collections actually plays a much more integral role in the overall process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Collections is an important service that helps to both maintain clients and free up money for lending again. 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It is a strategic process that is key to generating good habits and a payment culture among clients. </a:t>
            </a:r>
          </a:p>
          <a:p>
            <a:endParaRPr lang="en-US" dirty="0"/>
          </a:p>
          <a:p>
            <a:r>
              <a:rPr lang="en-US" dirty="0"/>
              <a:t>It can also be seen as a business activity whose primary objective is to generate returns for the institution, converting losses into income.</a:t>
            </a:r>
          </a:p>
        </p:txBody>
      </p:sp>
    </p:spTree>
    <p:extLst>
      <p:ext uri="{BB962C8B-B14F-4D97-AF65-F5344CB8AC3E}">
        <p14:creationId xmlns:p14="http://schemas.microsoft.com/office/powerpoint/2010/main" val="23525073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11582-4781-4748-9628-72BBDB3D5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is there delinquency in Banks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197B94-8F6E-465F-B5DB-064134D855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8574" y="1099930"/>
            <a:ext cx="11580526" cy="509132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Many delinquency problems would be avoided if MFIs ensured that the earlier lending processes were conducted correctly.</a:t>
            </a:r>
          </a:p>
          <a:p>
            <a:pPr marL="0" indent="0">
              <a:buNone/>
            </a:pPr>
            <a:r>
              <a:rPr lang="en-US" b="1" dirty="0"/>
              <a:t>Promotion</a:t>
            </a:r>
            <a:r>
              <a:rPr lang="en-US" dirty="0"/>
              <a:t>: </a:t>
            </a:r>
          </a:p>
          <a:p>
            <a:r>
              <a:rPr lang="en-US" dirty="0"/>
              <a:t>The product does not meet clients’ real needs; </a:t>
            </a:r>
          </a:p>
          <a:p>
            <a:r>
              <a:rPr lang="en-US" dirty="0"/>
              <a:t>There is no clear definition of the target client; </a:t>
            </a:r>
          </a:p>
          <a:p>
            <a:r>
              <a:rPr lang="en-US" dirty="0"/>
              <a:t>Clients’ use of the loan does not match foreseen uses of the loan funds included in the product definition; </a:t>
            </a:r>
          </a:p>
          <a:p>
            <a:r>
              <a:rPr lang="en-US" dirty="0"/>
              <a:t>There is no emphasis on a “long-term lending relationship” based on punctual payment; </a:t>
            </a:r>
          </a:p>
          <a:p>
            <a:r>
              <a:rPr lang="en-US" dirty="0"/>
              <a:t>loan officers, credit agents, promotion officers, etc., lack necessary training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Evaluation:</a:t>
            </a:r>
          </a:p>
          <a:p>
            <a:r>
              <a:rPr lang="en-US" dirty="0"/>
              <a:t>Failure in calculating loan amounts that exceed clients’ capacity to pay and over-indebtedness</a:t>
            </a:r>
          </a:p>
          <a:p>
            <a:r>
              <a:rPr lang="en-US" dirty="0"/>
              <a:t>Client has poor references or a poor attitude towards paying on time</a:t>
            </a:r>
          </a:p>
          <a:p>
            <a:r>
              <a:rPr lang="en-US" dirty="0"/>
              <a:t>There is no cross-checking of information to verify consistency, or documentation control;</a:t>
            </a:r>
          </a:p>
          <a:p>
            <a:r>
              <a:rPr lang="en-US" dirty="0"/>
              <a:t>Lack of risk-management tools to improve the understanding of default probability of the client, to identify the environmental causes that may affect the proper collections of the disbursed loan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27504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E65913-2B57-4208-954E-46A3956F7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ntd</a:t>
            </a:r>
            <a:r>
              <a:rPr lang="en-US" dirty="0"/>
              <a:t>…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C0DD01-AC8B-4870-B19D-873DBADAF6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8574" y="1258957"/>
            <a:ext cx="11580526" cy="4932293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Approval</a:t>
            </a:r>
            <a:r>
              <a:rPr lang="en-US" dirty="0"/>
              <a:t>:</a:t>
            </a:r>
          </a:p>
          <a:p>
            <a:r>
              <a:rPr lang="en-US" dirty="0"/>
              <a:t>Decisions are influenced by pressure to meet goals</a:t>
            </a:r>
          </a:p>
          <a:p>
            <a:r>
              <a:rPr lang="en-US" dirty="0"/>
              <a:t>Decisions are subjective, based on the level of trust in the loan officer and lacking an objective credit analysis</a:t>
            </a:r>
          </a:p>
          <a:p>
            <a:pPr marL="0" indent="0">
              <a:buNone/>
            </a:pPr>
            <a:r>
              <a:rPr lang="en-US" b="1" dirty="0"/>
              <a:t>Disbursement</a:t>
            </a:r>
            <a:r>
              <a:rPr lang="en-US" dirty="0"/>
              <a:t>:</a:t>
            </a:r>
          </a:p>
          <a:p>
            <a:r>
              <a:rPr lang="en-US" dirty="0"/>
              <a:t>Failure to conduct objective analysis to determine best loan conditions, such as loan amount, term and installment amount, and selection of the repayment date</a:t>
            </a:r>
          </a:p>
          <a:p>
            <a:r>
              <a:rPr lang="en-US" dirty="0"/>
              <a:t>Clients lack motivation to pay on time due to unclear payment instructions and expectations at the point of loan disbursement</a:t>
            </a:r>
          </a:p>
          <a:p>
            <a:r>
              <a:rPr lang="en-US" dirty="0"/>
              <a:t>Few alternative payment channels, such as the Internet-payment options and third-party agents, that could reduce transaction costs for clients</a:t>
            </a:r>
          </a:p>
          <a:p>
            <a:r>
              <a:rPr lang="en-US" dirty="0"/>
              <a:t>Operating errors, such as failure to identify the account holder or a lack of signatures on contracts and loan documents, as well as delays in disbursement preventing the client from making use of the loan as intended (e.g. a lost investment opportunity results in the loan being used instead for consumption purposes).</a:t>
            </a:r>
          </a:p>
        </p:txBody>
      </p:sp>
    </p:spTree>
    <p:extLst>
      <p:ext uri="{BB962C8B-B14F-4D97-AF65-F5344CB8AC3E}">
        <p14:creationId xmlns:p14="http://schemas.microsoft.com/office/powerpoint/2010/main" val="28743455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189FBF-783E-4BAC-835A-EB02EB02F1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872" y="245420"/>
            <a:ext cx="11621212" cy="960527"/>
          </a:xfrm>
        </p:spPr>
        <p:txBody>
          <a:bodyPr/>
          <a:lstStyle/>
          <a:p>
            <a:r>
              <a:rPr lang="en-US" sz="240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Segoe UI" panose="020B0502040204020203" pitchFamily="34" charset="0"/>
              </a:rPr>
              <a:t>PSW Question - How can we build a framework to optimize collection efforts to reduce Gross NPA as 10% of total loan in 1 year for India region?</a:t>
            </a:r>
            <a:br>
              <a:rPr lang="en-US" sz="360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Segoe UI" panose="020B0502040204020203" pitchFamily="34" charset="0"/>
              </a:rPr>
            </a:br>
            <a:br>
              <a:rPr lang="en-US" sz="360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</a:rPr>
            </a:br>
            <a:endParaRPr lang="en-US" sz="3600" dirty="0">
              <a:solidFill>
                <a:schemeClr val="accent5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27B5659-B05D-46DE-9E28-E3DE785D089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5782050" y="1669774"/>
            <a:ext cx="4766680" cy="2988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45847" tIns="45847" rIns="45847" bIns="45847" anchor="ctr"/>
          <a:lstStyle/>
          <a:p>
            <a:pPr eaLnBrk="0" hangingPunct="0">
              <a:defRPr/>
            </a:pPr>
            <a:r>
              <a:rPr lang="en-US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. Constrain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F53803-2D3C-4980-BE27-E0FA35CBF95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82050" y="2069742"/>
            <a:ext cx="4766680" cy="1389458"/>
          </a:xfrm>
          <a:prstGeom prst="rect">
            <a:avLst/>
          </a:prstGeom>
          <a:noFill/>
          <a:ln w="12700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</p:spPr>
        <p:txBody>
          <a:bodyPr lIns="89576" tIns="44821" rIns="89576" bIns="0" anchor="t"/>
          <a:lstStyle/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cost of collection efforts cannot increase  $2m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EA5C60D-C267-4AC3-8386-5B8767F3303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74644" y="1669774"/>
            <a:ext cx="4728740" cy="2988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45847" tIns="45847" rIns="45847" bIns="45847" anchor="ctr"/>
          <a:lstStyle/>
          <a:p>
            <a:pPr eaLnBrk="0" hangingPunct="0">
              <a:defRPr/>
            </a:pPr>
            <a:r>
              <a:rPr lang="en-US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 Background</a:t>
            </a: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6A7D5FD7-BC52-4293-AEBE-DC2664AEDFA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4644" y="2069741"/>
            <a:ext cx="4728739" cy="1110781"/>
          </a:xfrm>
          <a:prstGeom prst="rect">
            <a:avLst/>
          </a:prstGeom>
          <a:noFill/>
          <a:ln w="12700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</p:spPr>
        <p:txBody>
          <a:bodyPr lIns="89576" tIns="44821" rIns="89576" bIns="0" anchor="t"/>
          <a:lstStyle/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rding to annual report of ABC bank, bad loans as a percentage of total loans have reached 10% for March 2018 and same could reach 12% by March 2019.</a:t>
            </a:r>
          </a:p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nk wants to collect as much as of delayed payments so that they will not incur more losses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175980C-CA91-4CEE-B16D-717823FB5CF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782050" y="3536695"/>
            <a:ext cx="4766680" cy="298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45847" tIns="45847" rIns="45847" bIns="45847" anchor="ctr"/>
          <a:lstStyle/>
          <a:p>
            <a:pPr eaLnBrk="0" hangingPunct="0">
              <a:defRPr/>
            </a:pPr>
            <a:r>
              <a:rPr lang="en-US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. Stakeholders</a:t>
            </a:r>
          </a:p>
        </p:txBody>
      </p:sp>
      <p:sp>
        <p:nvSpPr>
          <p:cNvPr id="9" name="Rectangle 12">
            <a:extLst>
              <a:ext uri="{FF2B5EF4-FFF2-40B4-BE49-F238E27FC236}">
                <a16:creationId xmlns:a16="http://schemas.microsoft.com/office/drawing/2014/main" id="{0E35BA26-15E5-4117-BBB0-EA4615054546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782050" y="3936670"/>
            <a:ext cx="4766680" cy="488974"/>
          </a:xfrm>
          <a:prstGeom prst="rect">
            <a:avLst/>
          </a:prstGeom>
          <a:noFill/>
          <a:ln w="12700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</p:spPr>
        <p:txBody>
          <a:bodyPr lIns="89576" tIns="44821" rIns="89576" bIns="0" anchor="t"/>
          <a:lstStyle/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overnor of RBI</a:t>
            </a:r>
          </a:p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ervice Delivery Lead – loan departme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536B868-1A15-4F46-A8E6-0C80BEB1B2A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74644" y="3536695"/>
            <a:ext cx="4728739" cy="298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45847" tIns="45847" rIns="45847" bIns="45847" anchor="ctr"/>
          <a:lstStyle/>
          <a:p>
            <a:pPr eaLnBrk="0" hangingPunct="0">
              <a:defRPr/>
            </a:pPr>
            <a:r>
              <a:rPr lang="en-US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. Desired outcome </a:t>
            </a:r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147DA9C9-DE11-43AC-939F-9A285B7E44CF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74644" y="3936670"/>
            <a:ext cx="4728739" cy="493034"/>
          </a:xfrm>
          <a:prstGeom prst="rect">
            <a:avLst/>
          </a:prstGeom>
          <a:noFill/>
          <a:ln w="12700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</p:spPr>
        <p:txBody>
          <a:bodyPr lIns="89576" tIns="44821" rIns="89576" bIns="0" anchor="t"/>
          <a:lstStyle/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ptimize collection efforts to recover delinquent payments so that gross NPA will not be more than 10% of total loan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5A4C789-1F44-4E63-A383-12A9F1B2A0B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782050" y="4526810"/>
            <a:ext cx="4766680" cy="298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45847" tIns="45847" rIns="45847" bIns="45847" anchor="ctr"/>
          <a:lstStyle/>
          <a:p>
            <a:pPr eaLnBrk="0" hangingPunct="0">
              <a:defRPr/>
            </a:pPr>
            <a:r>
              <a:rPr lang="en-US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. Resources</a:t>
            </a:r>
          </a:p>
        </p:txBody>
      </p:sp>
      <p:sp>
        <p:nvSpPr>
          <p:cNvPr id="13" name="Rectangle 18">
            <a:extLst>
              <a:ext uri="{FF2B5EF4-FFF2-40B4-BE49-F238E27FC236}">
                <a16:creationId xmlns:a16="http://schemas.microsoft.com/office/drawing/2014/main" id="{BA3DAF78-219D-4465-BAAA-BB807E3FB0DE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782050" y="4926784"/>
            <a:ext cx="4766680" cy="851604"/>
          </a:xfrm>
          <a:prstGeom prst="rect">
            <a:avLst/>
          </a:prstGeom>
          <a:noFill/>
          <a:ln w="12700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</p:spPr>
        <p:txBody>
          <a:bodyPr lIns="89576" tIns="44821" rIns="89576" bIns="0" anchor="t"/>
          <a:lstStyle/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dit score report.</a:t>
            </a:r>
          </a:p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inancial statements of customer.(ABC internal)</a:t>
            </a:r>
          </a:p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erms and condition records for various loan plans</a:t>
            </a:r>
          </a:p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ersonal Guarantee records for each customer</a:t>
            </a:r>
          </a:p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lvl="1" algn="just">
              <a:spcBef>
                <a:spcPct val="20000"/>
              </a:spcBef>
              <a:buClr>
                <a:schemeClr val="tx1"/>
              </a:buClr>
            </a:pP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DE40CD0-A7D4-4A73-8C62-04D9E7BD321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74644" y="4526810"/>
            <a:ext cx="4728739" cy="298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45847" tIns="45847" rIns="45847" bIns="45847" anchor="ctr"/>
          <a:lstStyle/>
          <a:p>
            <a:pPr eaLnBrk="0" hangingPunct="0">
              <a:defRPr/>
            </a:pPr>
            <a:r>
              <a:rPr lang="en-US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. Scope</a:t>
            </a:r>
          </a:p>
        </p:txBody>
      </p:sp>
      <p:sp>
        <p:nvSpPr>
          <p:cNvPr id="15" name="Rectangle 21">
            <a:extLst>
              <a:ext uri="{FF2B5EF4-FFF2-40B4-BE49-F238E27FC236}">
                <a16:creationId xmlns:a16="http://schemas.microsoft.com/office/drawing/2014/main" id="{D6CC4B0B-2CEB-44BC-9D84-7BAA8CC0FCAE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74644" y="4926784"/>
            <a:ext cx="4728739" cy="851604"/>
          </a:xfrm>
          <a:prstGeom prst="rect">
            <a:avLst/>
          </a:prstGeom>
          <a:noFill/>
          <a:ln w="12700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</p:spPr>
        <p:txBody>
          <a:bodyPr lIns="89576" tIns="44821" rIns="89576" bIns="0" anchor="t"/>
          <a:lstStyle/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dentify measures to optimize collection efforts.</a:t>
            </a:r>
          </a:p>
          <a:p>
            <a:pPr marL="166393" lvl="1" indent="-166393" algn="just">
              <a:spcBef>
                <a:spcPct val="20000"/>
              </a:spcBef>
              <a:buClr>
                <a:schemeClr val="tx1"/>
              </a:buClr>
              <a:buFont typeface="Arial" charset="0"/>
              <a:buChar char="•"/>
            </a:pPr>
            <a:r>
              <a:rPr lang="en-US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dentify action plan in case client is unable to pay money back </a:t>
            </a:r>
          </a:p>
        </p:txBody>
      </p:sp>
    </p:spTree>
    <p:extLst>
      <p:ext uri="{BB962C8B-B14F-4D97-AF65-F5344CB8AC3E}">
        <p14:creationId xmlns:p14="http://schemas.microsoft.com/office/powerpoint/2010/main" val="8547357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vUt2gmkECStQB8WZDkK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tyqGGm.0m.o.3KTxfi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vUt2gmkECStQB8WZDk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tyqGGm.0m.o.3KTxfi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tyqGGm.0m.o.3KTxfi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vUt2gmkECStQB8WZDk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tyqGGm.0m.o.3KTxfi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vUt2gmkECStQB8WZDk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tyqGGm.0m.o.3KTxfi5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vUt2gmkECStQB8WZDk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tyqGGm.0m.o.3KTxfi5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vUt2gmkECStQB8WZDkKw"/>
</p:tagLst>
</file>

<file path=ppt/theme/theme1.xml><?xml version="1.0" encoding="utf-8"?>
<a:theme xmlns:a="http://schemas.openxmlformats.org/drawingml/2006/main" name="Theme1">
  <a:themeElements>
    <a:clrScheme name="Fractal">
      <a:dk1>
        <a:srgbClr val="474C55"/>
      </a:dk1>
      <a:lt1>
        <a:sysClr val="window" lastClr="FFFFFF"/>
      </a:lt1>
      <a:dk2>
        <a:srgbClr val="44546A"/>
      </a:dk2>
      <a:lt2>
        <a:srgbClr val="E7E6E6"/>
      </a:lt2>
      <a:accent1>
        <a:srgbClr val="DA291C"/>
      </a:accent1>
      <a:accent2>
        <a:srgbClr val="FFB81C"/>
      </a:accent2>
      <a:accent3>
        <a:srgbClr val="007DBA"/>
      </a:accent3>
      <a:accent4>
        <a:srgbClr val="474C55"/>
      </a:accent4>
      <a:accent5>
        <a:srgbClr val="0C2340"/>
      </a:accent5>
      <a:accent6>
        <a:srgbClr val="70AD47"/>
      </a:accent6>
      <a:hlink>
        <a:srgbClr val="0563C1"/>
      </a:hlink>
      <a:folHlink>
        <a:srgbClr val="DA291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500E2C20-92C4-4020-BC3D-902C02320064}" vid="{20AD32CE-9B69-4F99-B2C7-FBD70FCF9BE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5458</TotalTime>
  <Words>1676</Words>
  <Application>Microsoft Office PowerPoint</Application>
  <PresentationFormat>Widescreen</PresentationFormat>
  <Paragraphs>206</Paragraphs>
  <Slides>2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MS PGothic</vt:lpstr>
      <vt:lpstr>Arial</vt:lpstr>
      <vt:lpstr>Arial Unicode MS</vt:lpstr>
      <vt:lpstr>Calibri</vt:lpstr>
      <vt:lpstr>Calibri </vt:lpstr>
      <vt:lpstr>Calibri Light</vt:lpstr>
      <vt:lpstr>Helvetica Neue</vt:lpstr>
      <vt:lpstr>Helvetica Neue Medium</vt:lpstr>
      <vt:lpstr>Roboto</vt:lpstr>
      <vt:lpstr>Segoe UI</vt:lpstr>
      <vt:lpstr>Theme1</vt:lpstr>
      <vt:lpstr>Manish Shukla &amp; Shubham Gupta </vt:lpstr>
      <vt:lpstr>Collections strategy</vt:lpstr>
      <vt:lpstr>Case – 3 | Collections strategy</vt:lpstr>
      <vt:lpstr>Industry Research </vt:lpstr>
      <vt:lpstr>Bank’s bad loans Trends in India  </vt:lpstr>
      <vt:lpstr>The Role of Collections</vt:lpstr>
      <vt:lpstr>Why is there delinquency in Banks?</vt:lpstr>
      <vt:lpstr>Contd…</vt:lpstr>
      <vt:lpstr>PSW Question - How can we build a framework to optimize collection efforts to reduce Gross NPA as 10% of total loan in 1 year for India region?  </vt:lpstr>
      <vt:lpstr>Issue Tree</vt:lpstr>
      <vt:lpstr>Issue Tree</vt:lpstr>
      <vt:lpstr>Issue Tree</vt:lpstr>
      <vt:lpstr>Collections strategy</vt:lpstr>
      <vt:lpstr>PowerPoint Presentation</vt:lpstr>
      <vt:lpstr>PowerPoint Presentation</vt:lpstr>
      <vt:lpstr>Process of Accounts Receivable</vt:lpstr>
      <vt:lpstr>PSW Question - How can we optimize collection efforts and reduce account receivable overdue</vt:lpstr>
      <vt:lpstr>Issue Tree</vt:lpstr>
      <vt:lpstr>Issue Tre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ubham Gupta</dc:creator>
  <cp:lastModifiedBy>Shubham Gupta</cp:lastModifiedBy>
  <cp:revision>164</cp:revision>
  <dcterms:created xsi:type="dcterms:W3CDTF">2018-06-08T11:14:26Z</dcterms:created>
  <dcterms:modified xsi:type="dcterms:W3CDTF">2018-11-30T05:59:13Z</dcterms:modified>
</cp:coreProperties>
</file>